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89" r:id="rId1"/>
  </p:sldMasterIdLst>
  <p:notesMasterIdLst>
    <p:notesMasterId r:id="rId8"/>
  </p:notesMasterIdLst>
  <p:handoutMasterIdLst>
    <p:handoutMasterId r:id="rId9"/>
  </p:handoutMasterIdLst>
  <p:sldIdLst>
    <p:sldId id="1541" r:id="rId2"/>
    <p:sldId id="1538" r:id="rId3"/>
    <p:sldId id="1537" r:id="rId4"/>
    <p:sldId id="1539" r:id="rId5"/>
    <p:sldId id="1542" r:id="rId6"/>
    <p:sldId id="1540" r:id="rId7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0134A73B-D397-4333-9346-1DAFC83CF2E5}">
          <p14:sldIdLst>
            <p14:sldId id="1541"/>
            <p14:sldId id="1538"/>
            <p14:sldId id="1537"/>
            <p14:sldId id="1539"/>
            <p14:sldId id="1542"/>
            <p14:sldId id="154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63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080" userDrawn="1">
          <p15:clr>
            <a:srgbClr val="A4A3A4"/>
          </p15:clr>
        </p15:guide>
        <p15:guide id="5" orient="horz" pos="1588" userDrawn="1">
          <p15:clr>
            <a:srgbClr val="A4A3A4"/>
          </p15:clr>
        </p15:guide>
        <p15:guide id="6" orient="horz" pos="930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4037" userDrawn="1">
          <p15:clr>
            <a:srgbClr val="A4A3A4"/>
          </p15:clr>
        </p15:guide>
        <p15:guide id="10" pos="4535" userDrawn="1">
          <p15:clr>
            <a:srgbClr val="A4A3A4"/>
          </p15:clr>
        </p15:guide>
        <p15:guide id="11" pos="7665" userDrawn="1">
          <p15:clr>
            <a:srgbClr val="A4A3A4"/>
          </p15:clr>
        </p15:guide>
        <p15:guide id="12" pos="294" userDrawn="1">
          <p15:clr>
            <a:srgbClr val="A4A3A4"/>
          </p15:clr>
        </p15:guide>
        <p15:guide id="13" pos="1587" userDrawn="1">
          <p15:clr>
            <a:srgbClr val="A4A3A4"/>
          </p15:clr>
        </p15:guide>
        <p15:guide id="14" orient="horz" pos="1111" userDrawn="1">
          <p15:clr>
            <a:srgbClr val="A4A3A4"/>
          </p15:clr>
        </p15:guide>
        <p15:guide id="15" orient="horz" pos="1429" userDrawn="1">
          <p15:clr>
            <a:srgbClr val="A4A3A4"/>
          </p15:clr>
        </p15:guide>
        <p15:guide id="16" orient="horz" pos="22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Гончарова Татьяна Вячеславовна" initials="ГТВ" lastIdx="7" clrIdx="1">
    <p:extLst>
      <p:ext uri="{19B8F6BF-5375-455C-9EA6-DF929625EA0E}">
        <p15:presenceInfo xmlns:p15="http://schemas.microsoft.com/office/powerpoint/2012/main" xmlns="" userId="S-1-5-21-2509222527-3473664192-1900209780-6232" providerId="AD"/>
      </p:ext>
    </p:extLst>
  </p:cmAuthor>
  <p:cmAuthor id="2" name="Тарасов Вадим Александрович" initials="ТВА" lastIdx="1" clrIdx="2">
    <p:extLst>
      <p:ext uri="{19B8F6BF-5375-455C-9EA6-DF929625EA0E}">
        <p15:presenceInfo xmlns:p15="http://schemas.microsoft.com/office/powerpoint/2012/main" xmlns="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5750B"/>
    <a:srgbClr val="1F4E79"/>
    <a:srgbClr val="E7F5FE"/>
    <a:srgbClr val="CCECFF"/>
    <a:srgbClr val="F2F2F2"/>
    <a:srgbClr val="0070C0"/>
    <a:srgbClr val="AFE2FF"/>
    <a:srgbClr val="8BCDFF"/>
    <a:srgbClr val="ACCCEA"/>
    <a:srgbClr val="FCD7B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6087" autoAdjust="0"/>
  </p:normalViewPr>
  <p:slideViewPr>
    <p:cSldViewPr snapToGrid="0" showGuides="1">
      <p:cViewPr varScale="1">
        <p:scale>
          <a:sx n="83" d="100"/>
          <a:sy n="83" d="100"/>
        </p:scale>
        <p:origin x="-120" y="-78"/>
      </p:cViewPr>
      <p:guideLst>
        <p:guide orient="horz" pos="363"/>
        <p:guide orient="horz" pos="839"/>
        <p:guide orient="horz" pos="5080"/>
        <p:guide orient="horz" pos="1588"/>
        <p:guide orient="horz" pos="930"/>
        <p:guide orient="horz" pos="1111"/>
        <p:guide orient="horz" pos="1429"/>
        <p:guide orient="horz" pos="2223"/>
        <p:guide pos="226"/>
        <p:guide pos="499"/>
        <p:guide pos="4037"/>
        <p:guide pos="4535"/>
        <p:guide pos="7665"/>
        <p:guide pos="294"/>
        <p:guide pos="15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3978" y="108"/>
      </p:cViewPr>
      <p:guideLst>
        <p:guide orient="horz" pos="3127"/>
        <p:guide pos="2140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42B58284-BD55-477D-829B-0D8B66B41141}" type="datetimeFigureOut">
              <a:rPr lang="en-US"/>
              <a:pPr/>
              <a:t>8/29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8/29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25" tIns="68815" rIns="137625" bIns="688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5" y="4715159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64870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3611897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fd.nalog.ru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rlk@corpmsp.ru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Galeevrm@rlcrb.ru" TargetMode="External"/><Relationship Id="rId2" Type="http://schemas.openxmlformats.org/officeDocument/2006/relationships/hyperlink" Target="mailto:abazdreva@rlcrt.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7857" y="3809778"/>
            <a:ext cx="11257117" cy="2153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Программа коммерческого лизинга </a:t>
            </a:r>
            <a:b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дочерних региональных лизинговых компаний АО «Корпорация «МСП»</a:t>
            </a:r>
            <a:endParaRPr lang="ru-RU" sz="4000" b="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2019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69797" y="912202"/>
            <a:ext cx="5860394" cy="266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754274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Программа коммерческого лизинга для субъектов МСП</a:t>
            </a:r>
            <a:endParaRPr lang="ru-RU" sz="2400" b="0" dirty="0"/>
          </a:p>
        </p:txBody>
      </p:sp>
      <p:sp>
        <p:nvSpPr>
          <p:cNvPr id="35" name="TextBox 34"/>
          <p:cNvSpPr txBox="1"/>
          <p:nvPr/>
        </p:nvSpPr>
        <p:spPr>
          <a:xfrm>
            <a:off x="377030" y="4320381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еимущества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ограммы льготного лизинга</a:t>
            </a:r>
          </a:p>
        </p:txBody>
      </p:sp>
      <p:sp>
        <p:nvSpPr>
          <p:cNvPr id="36" name="L-Shape 10"/>
          <p:cNvSpPr/>
          <p:nvPr/>
        </p:nvSpPr>
        <p:spPr>
          <a:xfrm rot="13701821">
            <a:off x="1846546" y="3506710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1462"/>
          <p:cNvGrpSpPr/>
          <p:nvPr/>
        </p:nvGrpSpPr>
        <p:grpSpPr>
          <a:xfrm>
            <a:off x="877122" y="3325051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38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9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2681740" y="2800536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роцентные ставки на уровне не выше среднерыночного значения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 представляет собой беззалоговое финансирование, обеспечением является сам предмет лизинга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вая компания самостоятельно приобретает у поставщика имущества и передает его во временное пользование и владение лизингополучателю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не ограничен в выборе и поставщика предмета лизинг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вправе выбрать график платежей исходя из сезонности бизнес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ервый лизинговый платеж оплачивается через 30 дней после подписания акта приема-передачи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Существует возможность привлечения региональных гарантийных организаций в качестве поручителя</a:t>
            </a:r>
          </a:p>
        </p:txBody>
      </p:sp>
    </p:spTree>
    <p:extLst>
      <p:ext uri="{BB962C8B-B14F-4D97-AF65-F5344CB8AC3E}">
        <p14:creationId xmlns:p14="http://schemas.microsoft.com/office/powerpoint/2010/main" xmlns="" val="3523192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Лизинговые продукты коммерческого портфеля дочерних региональных лизинговых компаний АО «Корпорация «МСП»</a:t>
            </a:r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7084824"/>
              </p:ext>
            </p:extLst>
          </p:nvPr>
        </p:nvGraphicFramePr>
        <p:xfrm>
          <a:off x="139983" y="1614519"/>
          <a:ext cx="12179016" cy="2598155"/>
        </p:xfrm>
        <a:graphic>
          <a:graphicData uri="http://schemas.openxmlformats.org/drawingml/2006/table">
            <a:tbl>
              <a:tblPr/>
              <a:tblGrid>
                <a:gridCol w="22790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159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xmlns="" val="3351217519"/>
                    </a:ext>
                  </a:extLst>
                </a:gridCol>
                <a:gridCol w="176875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464675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е 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ец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скохозяй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ммерческий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ранспорт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недвижимость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Лизинговая став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8,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52444030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финансирования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40 млн рубл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 лизинга</a:t>
                      </a: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инимальный аван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321" name="Прямоугольник 320"/>
          <p:cNvSpPr/>
          <p:nvPr/>
        </p:nvSpPr>
        <p:spPr>
          <a:xfrm>
            <a:off x="229466" y="8219732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r>
              <a:rPr lang="ru-RU" sz="900" dirty="0"/>
              <a:t>* Максимальный лимит на одного лизингополучателя (группу связанных компаний) определяется на основании решения уполномоченного органа управления РЛК</a:t>
            </a:r>
            <a:endParaRPr lang="en-US" sz="900" dirty="0"/>
          </a:p>
        </p:txBody>
      </p:sp>
      <p:grpSp>
        <p:nvGrpSpPr>
          <p:cNvPr id="328" name="Группа 327"/>
          <p:cNvGrpSpPr/>
          <p:nvPr/>
        </p:nvGrpSpPr>
        <p:grpSpPr>
          <a:xfrm>
            <a:off x="817981" y="6330366"/>
            <a:ext cx="4312163" cy="307777"/>
            <a:chOff x="139980" y="6833075"/>
            <a:chExt cx="4312163" cy="307777"/>
          </a:xfrm>
        </p:grpSpPr>
        <p:sp>
          <p:nvSpPr>
            <p:cNvPr id="329" name="L-Shape 10"/>
            <p:cNvSpPr/>
            <p:nvPr/>
          </p:nvSpPr>
          <p:spPr>
            <a:xfrm rot="13701821">
              <a:off x="2491878" y="6858136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139980" y="6833075"/>
              <a:ext cx="22069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+mj-lt"/>
                <a:cs typeface="+mn-cs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3027266" y="6833075"/>
              <a:ext cx="14248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 млрд руб.</a:t>
              </a:r>
            </a:p>
          </p:txBody>
        </p:sp>
      </p:grpSp>
      <p:grpSp>
        <p:nvGrpSpPr>
          <p:cNvPr id="332" name="Группа 331"/>
          <p:cNvGrpSpPr/>
          <p:nvPr/>
        </p:nvGrpSpPr>
        <p:grpSpPr>
          <a:xfrm>
            <a:off x="580914" y="6725990"/>
            <a:ext cx="4593858" cy="523220"/>
            <a:chOff x="-97087" y="7208198"/>
            <a:chExt cx="4593858" cy="523220"/>
          </a:xfrm>
        </p:grpSpPr>
        <p:sp>
          <p:nvSpPr>
            <p:cNvPr id="333" name="L-Shape 10"/>
            <p:cNvSpPr/>
            <p:nvPr/>
          </p:nvSpPr>
          <p:spPr>
            <a:xfrm rot="13701821">
              <a:off x="2480534" y="7314248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4" name="Прямоугольник 333"/>
            <p:cNvSpPr/>
            <p:nvPr/>
          </p:nvSpPr>
          <p:spPr>
            <a:xfrm>
              <a:off x="-97087" y="7208198"/>
              <a:ext cx="2538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Среднесписочная численность сотрудников</a:t>
              </a:r>
            </a:p>
          </p:txBody>
        </p:sp>
        <p:sp>
          <p:nvSpPr>
            <p:cNvPr id="335" name="Прямоугольник 334"/>
            <p:cNvSpPr/>
            <p:nvPr/>
          </p:nvSpPr>
          <p:spPr>
            <a:xfrm>
              <a:off x="3027266" y="7300531"/>
              <a:ext cx="14695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50 человек</a:t>
              </a: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239954" y="4624420"/>
            <a:ext cx="3766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1F4E79"/>
                </a:solidFill>
              </a:rPr>
              <a:t>Профиль клиента</a:t>
            </a:r>
          </a:p>
        </p:txBody>
      </p:sp>
      <p:cxnSp>
        <p:nvCxnSpPr>
          <p:cNvPr id="337" name="Прямая соединительная линия 336"/>
          <p:cNvCxnSpPr/>
          <p:nvPr/>
        </p:nvCxnSpPr>
        <p:spPr>
          <a:xfrm>
            <a:off x="528597" y="5030003"/>
            <a:ext cx="44593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Freeform 21"/>
          <p:cNvSpPr>
            <a:spLocks noChangeAspect="1"/>
          </p:cNvSpPr>
          <p:nvPr/>
        </p:nvSpPr>
        <p:spPr bwMode="auto">
          <a:xfrm>
            <a:off x="663690" y="4404570"/>
            <a:ext cx="541490" cy="519950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/>
            <a:endParaRPr lang="en-GB" sz="2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492086" y="5163920"/>
            <a:ext cx="4495832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+mj-lt"/>
                <a:cs typeface="+mn-cs"/>
              </a:rPr>
              <a:t>Субъекты малого и среднего предпринимательства, </a:t>
            </a:r>
            <a:r>
              <a:rPr lang="ru-RU" sz="1400" dirty="0">
                <a:solidFill>
                  <a:prstClr val="black"/>
                </a:solidFill>
                <a:latin typeface="+mj-lt"/>
                <a:cs typeface="+mn-cs"/>
              </a:rPr>
              <a:t>включенные в Единый реестр субъектов малого и среднего предпринимательства (</a:t>
            </a:r>
            <a:r>
              <a:rPr lang="en-US" sz="1400" dirty="0">
                <a:hlinkClick r:id="rId2"/>
              </a:rPr>
              <a:t>www.ofd.nalog.ru</a:t>
            </a:r>
            <a:r>
              <a:rPr lang="en-US" sz="1400" dirty="0">
                <a:solidFill>
                  <a:prstClr val="black"/>
                </a:solidFill>
                <a:latin typeface="+mj-lt"/>
                <a:cs typeface="+mn-cs"/>
              </a:rPr>
              <a:t>)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grpSp>
        <p:nvGrpSpPr>
          <p:cNvPr id="340" name="Группа 339"/>
          <p:cNvGrpSpPr/>
          <p:nvPr/>
        </p:nvGrpSpPr>
        <p:grpSpPr>
          <a:xfrm>
            <a:off x="903642" y="7306280"/>
            <a:ext cx="4079539" cy="307777"/>
            <a:chOff x="225641" y="7883894"/>
            <a:chExt cx="4079539" cy="307777"/>
          </a:xfrm>
        </p:grpSpPr>
        <p:sp>
          <p:nvSpPr>
            <p:cNvPr id="341" name="L-Shape 10"/>
            <p:cNvSpPr/>
            <p:nvPr/>
          </p:nvSpPr>
          <p:spPr>
            <a:xfrm rot="13701821">
              <a:off x="2480534" y="7910236"/>
              <a:ext cx="249564" cy="22431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225641" y="7883894"/>
              <a:ext cx="20264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+mj-lt"/>
                  <a:cs typeface="+mn-cs"/>
                </a:rPr>
                <a:t>Место регистрации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3027266" y="7883894"/>
              <a:ext cx="127791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+mn-cs"/>
                </a:rPr>
                <a:t>Резидент РФ</a:t>
              </a:r>
            </a:p>
          </p:txBody>
        </p:sp>
      </p:grpSp>
      <p:grpSp>
        <p:nvGrpSpPr>
          <p:cNvPr id="366" name="Group 842"/>
          <p:cNvGrpSpPr/>
          <p:nvPr/>
        </p:nvGrpSpPr>
        <p:grpSpPr>
          <a:xfrm rot="3924488">
            <a:off x="3199105" y="1711098"/>
            <a:ext cx="671111" cy="825507"/>
            <a:chOff x="5417914" y="3926481"/>
            <a:chExt cx="517525" cy="636588"/>
          </a:xfrm>
          <a:solidFill>
            <a:schemeClr val="bg1"/>
          </a:solidFill>
        </p:grpSpPr>
        <p:sp>
          <p:nvSpPr>
            <p:cNvPr id="36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6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7245924" y="1904104"/>
            <a:ext cx="809276" cy="439496"/>
          </a:xfrm>
          <a:custGeom>
            <a:avLst/>
            <a:gdLst>
              <a:gd name="T0" fmla="*/ 281 w 596"/>
              <a:gd name="T1" fmla="*/ 235 h 323"/>
              <a:gd name="T2" fmla="*/ 457 w 596"/>
              <a:gd name="T3" fmla="*/ 235 h 323"/>
              <a:gd name="T4" fmla="*/ 369 w 596"/>
              <a:gd name="T5" fmla="*/ 301 h 323"/>
              <a:gd name="T6" fmla="*/ 369 w 596"/>
              <a:gd name="T7" fmla="*/ 169 h 323"/>
              <a:gd name="T8" fmla="*/ 369 w 596"/>
              <a:gd name="T9" fmla="*/ 301 h 323"/>
              <a:gd name="T10" fmla="*/ 348 w 596"/>
              <a:gd name="T11" fmla="*/ 235 h 323"/>
              <a:gd name="T12" fmla="*/ 390 w 596"/>
              <a:gd name="T13" fmla="*/ 235 h 323"/>
              <a:gd name="T14" fmla="*/ 120 w 596"/>
              <a:gd name="T15" fmla="*/ 242 h 323"/>
              <a:gd name="T16" fmla="*/ 120 w 596"/>
              <a:gd name="T17" fmla="*/ 272 h 323"/>
              <a:gd name="T18" fmla="*/ 120 w 596"/>
              <a:gd name="T19" fmla="*/ 242 h 323"/>
              <a:gd name="T20" fmla="*/ 183 w 596"/>
              <a:gd name="T21" fmla="*/ 240 h 323"/>
              <a:gd name="T22" fmla="*/ 54 w 596"/>
              <a:gd name="T23" fmla="*/ 257 h 323"/>
              <a:gd name="T24" fmla="*/ 185 w 596"/>
              <a:gd name="T25" fmla="*/ 262 h 323"/>
              <a:gd name="T26" fmla="*/ 274 w 596"/>
              <a:gd name="T27" fmla="*/ 251 h 323"/>
              <a:gd name="T28" fmla="*/ 120 w 596"/>
              <a:gd name="T29" fmla="*/ 301 h 323"/>
              <a:gd name="T30" fmla="*/ 120 w 596"/>
              <a:gd name="T31" fmla="*/ 214 h 323"/>
              <a:gd name="T32" fmla="*/ 120 w 596"/>
              <a:gd name="T33" fmla="*/ 301 h 323"/>
              <a:gd name="T34" fmla="*/ 377 w 596"/>
              <a:gd name="T35" fmla="*/ 129 h 323"/>
              <a:gd name="T36" fmla="*/ 390 w 596"/>
              <a:gd name="T37" fmla="*/ 118 h 323"/>
              <a:gd name="T38" fmla="*/ 388 w 596"/>
              <a:gd name="T39" fmla="*/ 4 h 323"/>
              <a:gd name="T40" fmla="*/ 226 w 596"/>
              <a:gd name="T41" fmla="*/ 1 h 323"/>
              <a:gd name="T42" fmla="*/ 172 w 596"/>
              <a:gd name="T43" fmla="*/ 124 h 323"/>
              <a:gd name="T44" fmla="*/ 114 w 596"/>
              <a:gd name="T45" fmla="*/ 64 h 323"/>
              <a:gd name="T46" fmla="*/ 92 w 596"/>
              <a:gd name="T47" fmla="*/ 64 h 323"/>
              <a:gd name="T48" fmla="*/ 34 w 596"/>
              <a:gd name="T49" fmla="*/ 131 h 323"/>
              <a:gd name="T50" fmla="*/ 23 w 596"/>
              <a:gd name="T51" fmla="*/ 226 h 323"/>
              <a:gd name="T52" fmla="*/ 0 w 596"/>
              <a:gd name="T53" fmla="*/ 237 h 323"/>
              <a:gd name="T54" fmla="*/ 34 w 596"/>
              <a:gd name="T55" fmla="*/ 248 h 323"/>
              <a:gd name="T56" fmla="*/ 45 w 596"/>
              <a:gd name="T57" fmla="*/ 152 h 323"/>
              <a:gd name="T58" fmla="*/ 190 w 596"/>
              <a:gd name="T59" fmla="*/ 138 h 323"/>
              <a:gd name="T60" fmla="*/ 369 w 596"/>
              <a:gd name="T61" fmla="*/ 23 h 323"/>
              <a:gd name="T62" fmla="*/ 266 w 596"/>
              <a:gd name="T63" fmla="*/ 160 h 323"/>
              <a:gd name="T64" fmla="*/ 287 w 596"/>
              <a:gd name="T65" fmla="*/ 168 h 323"/>
              <a:gd name="T66" fmla="*/ 480 w 596"/>
              <a:gd name="T67" fmla="*/ 202 h 323"/>
              <a:gd name="T68" fmla="*/ 471 w 596"/>
              <a:gd name="T69" fmla="*/ 252 h 323"/>
              <a:gd name="T70" fmla="*/ 493 w 596"/>
              <a:gd name="T71" fmla="*/ 252 h 323"/>
              <a:gd name="T72" fmla="*/ 574 w 596"/>
              <a:gd name="T73" fmla="*/ 264 h 323"/>
              <a:gd name="T74" fmla="*/ 588 w 596"/>
              <a:gd name="T75" fmla="*/ 270 h 323"/>
              <a:gd name="T76" fmla="*/ 267 w 596"/>
              <a:gd name="T77" fmla="*/ 123 h 323"/>
              <a:gd name="T78" fmla="*/ 278 w 596"/>
              <a:gd name="T79" fmla="*/ 76 h 323"/>
              <a:gd name="T80" fmla="*/ 256 w 596"/>
              <a:gd name="T81" fmla="*/ 76 h 323"/>
              <a:gd name="T82" fmla="*/ 226 w 596"/>
              <a:gd name="T83" fmla="*/ 101 h 323"/>
              <a:gd name="T84" fmla="*/ 226 w 596"/>
              <a:gd name="T85" fmla="*/ 1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6" h="323">
                <a:moveTo>
                  <a:pt x="369" y="147"/>
                </a:moveTo>
                <a:cubicBezTo>
                  <a:pt x="320" y="147"/>
                  <a:pt x="281" y="186"/>
                  <a:pt x="281" y="235"/>
                </a:cubicBezTo>
                <a:cubicBezTo>
                  <a:pt x="281" y="283"/>
                  <a:pt x="320" y="323"/>
                  <a:pt x="369" y="323"/>
                </a:cubicBezTo>
                <a:cubicBezTo>
                  <a:pt x="417" y="323"/>
                  <a:pt x="457" y="283"/>
                  <a:pt x="457" y="235"/>
                </a:cubicBezTo>
                <a:cubicBezTo>
                  <a:pt x="457" y="186"/>
                  <a:pt x="417" y="147"/>
                  <a:pt x="369" y="147"/>
                </a:cubicBezTo>
                <a:close/>
                <a:moveTo>
                  <a:pt x="369" y="301"/>
                </a:moveTo>
                <a:cubicBezTo>
                  <a:pt x="332" y="301"/>
                  <a:pt x="303" y="271"/>
                  <a:pt x="303" y="235"/>
                </a:cubicBezTo>
                <a:cubicBezTo>
                  <a:pt x="303" y="198"/>
                  <a:pt x="332" y="169"/>
                  <a:pt x="369" y="169"/>
                </a:cubicBezTo>
                <a:cubicBezTo>
                  <a:pt x="405" y="169"/>
                  <a:pt x="435" y="198"/>
                  <a:pt x="435" y="235"/>
                </a:cubicBezTo>
                <a:cubicBezTo>
                  <a:pt x="435" y="271"/>
                  <a:pt x="405" y="301"/>
                  <a:pt x="369" y="301"/>
                </a:cubicBezTo>
                <a:close/>
                <a:moveTo>
                  <a:pt x="369" y="214"/>
                </a:moveTo>
                <a:cubicBezTo>
                  <a:pt x="357" y="214"/>
                  <a:pt x="348" y="223"/>
                  <a:pt x="348" y="235"/>
                </a:cubicBezTo>
                <a:cubicBezTo>
                  <a:pt x="348" y="247"/>
                  <a:pt x="357" y="256"/>
                  <a:pt x="369" y="256"/>
                </a:cubicBezTo>
                <a:cubicBezTo>
                  <a:pt x="381" y="256"/>
                  <a:pt x="390" y="247"/>
                  <a:pt x="390" y="235"/>
                </a:cubicBezTo>
                <a:cubicBezTo>
                  <a:pt x="390" y="223"/>
                  <a:pt x="381" y="214"/>
                  <a:pt x="369" y="214"/>
                </a:cubicBezTo>
                <a:close/>
                <a:moveTo>
                  <a:pt x="120" y="242"/>
                </a:moveTo>
                <a:cubicBezTo>
                  <a:pt x="112" y="242"/>
                  <a:pt x="105" y="249"/>
                  <a:pt x="105" y="257"/>
                </a:cubicBezTo>
                <a:cubicBezTo>
                  <a:pt x="105" y="266"/>
                  <a:pt x="112" y="272"/>
                  <a:pt x="120" y="272"/>
                </a:cubicBezTo>
                <a:cubicBezTo>
                  <a:pt x="128" y="272"/>
                  <a:pt x="135" y="266"/>
                  <a:pt x="135" y="257"/>
                </a:cubicBezTo>
                <a:cubicBezTo>
                  <a:pt x="135" y="249"/>
                  <a:pt x="128" y="242"/>
                  <a:pt x="120" y="242"/>
                </a:cubicBezTo>
                <a:close/>
                <a:moveTo>
                  <a:pt x="263" y="240"/>
                </a:moveTo>
                <a:cubicBezTo>
                  <a:pt x="183" y="240"/>
                  <a:pt x="183" y="240"/>
                  <a:pt x="183" y="240"/>
                </a:cubicBezTo>
                <a:cubicBezTo>
                  <a:pt x="176" y="212"/>
                  <a:pt x="150" y="192"/>
                  <a:pt x="120" y="192"/>
                </a:cubicBezTo>
                <a:cubicBezTo>
                  <a:pt x="84" y="192"/>
                  <a:pt x="54" y="221"/>
                  <a:pt x="54" y="257"/>
                </a:cubicBezTo>
                <a:cubicBezTo>
                  <a:pt x="54" y="293"/>
                  <a:pt x="84" y="323"/>
                  <a:pt x="120" y="323"/>
                </a:cubicBezTo>
                <a:cubicBezTo>
                  <a:pt x="154" y="323"/>
                  <a:pt x="183" y="296"/>
                  <a:pt x="185" y="262"/>
                </a:cubicBezTo>
                <a:cubicBezTo>
                  <a:pt x="263" y="262"/>
                  <a:pt x="263" y="262"/>
                  <a:pt x="263" y="262"/>
                </a:cubicBezTo>
                <a:cubicBezTo>
                  <a:pt x="269" y="262"/>
                  <a:pt x="274" y="257"/>
                  <a:pt x="274" y="251"/>
                </a:cubicBezTo>
                <a:cubicBezTo>
                  <a:pt x="274" y="245"/>
                  <a:pt x="269" y="240"/>
                  <a:pt x="263" y="240"/>
                </a:cubicBezTo>
                <a:close/>
                <a:moveTo>
                  <a:pt x="120" y="301"/>
                </a:moveTo>
                <a:cubicBezTo>
                  <a:pt x="96" y="301"/>
                  <a:pt x="76" y="281"/>
                  <a:pt x="76" y="257"/>
                </a:cubicBezTo>
                <a:cubicBezTo>
                  <a:pt x="76" y="233"/>
                  <a:pt x="96" y="214"/>
                  <a:pt x="120" y="214"/>
                </a:cubicBezTo>
                <a:cubicBezTo>
                  <a:pt x="144" y="214"/>
                  <a:pt x="164" y="233"/>
                  <a:pt x="164" y="257"/>
                </a:cubicBezTo>
                <a:cubicBezTo>
                  <a:pt x="164" y="281"/>
                  <a:pt x="144" y="301"/>
                  <a:pt x="120" y="301"/>
                </a:cubicBezTo>
                <a:close/>
                <a:moveTo>
                  <a:pt x="287" y="168"/>
                </a:moveTo>
                <a:cubicBezTo>
                  <a:pt x="307" y="119"/>
                  <a:pt x="377" y="129"/>
                  <a:pt x="377" y="129"/>
                </a:cubicBezTo>
                <a:cubicBezTo>
                  <a:pt x="380" y="129"/>
                  <a:pt x="384" y="128"/>
                  <a:pt x="386" y="126"/>
                </a:cubicBezTo>
                <a:cubicBezTo>
                  <a:pt x="388" y="124"/>
                  <a:pt x="390" y="121"/>
                  <a:pt x="390" y="118"/>
                </a:cubicBezTo>
                <a:cubicBezTo>
                  <a:pt x="391" y="12"/>
                  <a:pt x="391" y="12"/>
                  <a:pt x="391" y="12"/>
                </a:cubicBezTo>
                <a:cubicBezTo>
                  <a:pt x="391" y="9"/>
                  <a:pt x="390" y="6"/>
                  <a:pt x="388" y="4"/>
                </a:cubicBezTo>
                <a:cubicBezTo>
                  <a:pt x="386" y="2"/>
                  <a:pt x="383" y="0"/>
                  <a:pt x="380" y="1"/>
                </a:cubicBezTo>
                <a:cubicBezTo>
                  <a:pt x="226" y="1"/>
                  <a:pt x="226" y="1"/>
                  <a:pt x="226" y="1"/>
                </a:cubicBezTo>
                <a:cubicBezTo>
                  <a:pt x="222" y="1"/>
                  <a:pt x="218" y="4"/>
                  <a:pt x="216" y="8"/>
                </a:cubicBezTo>
                <a:cubicBezTo>
                  <a:pt x="172" y="124"/>
                  <a:pt x="172" y="124"/>
                  <a:pt x="172" y="124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114" y="58"/>
                  <a:pt x="109" y="53"/>
                  <a:pt x="103" y="53"/>
                </a:cubicBezTo>
                <a:cubicBezTo>
                  <a:pt x="97" y="53"/>
                  <a:pt x="92" y="58"/>
                  <a:pt x="92" y="64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28" y="131"/>
                  <a:pt x="24" y="136"/>
                  <a:pt x="24" y="142"/>
                </a:cubicBezTo>
                <a:cubicBezTo>
                  <a:pt x="23" y="226"/>
                  <a:pt x="23" y="226"/>
                  <a:pt x="23" y="226"/>
                </a:cubicBezTo>
                <a:cubicBezTo>
                  <a:pt x="11" y="226"/>
                  <a:pt x="11" y="226"/>
                  <a:pt x="11" y="226"/>
                </a:cubicBezTo>
                <a:cubicBezTo>
                  <a:pt x="5" y="226"/>
                  <a:pt x="0" y="231"/>
                  <a:pt x="0" y="237"/>
                </a:cubicBezTo>
                <a:cubicBezTo>
                  <a:pt x="0" y="243"/>
                  <a:pt x="5" y="248"/>
                  <a:pt x="11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40" y="248"/>
                  <a:pt x="45" y="243"/>
                  <a:pt x="45" y="237"/>
                </a:cubicBezTo>
                <a:cubicBezTo>
                  <a:pt x="45" y="152"/>
                  <a:pt x="45" y="152"/>
                  <a:pt x="45" y="152"/>
                </a:cubicBezTo>
                <a:cubicBezTo>
                  <a:pt x="180" y="145"/>
                  <a:pt x="180" y="145"/>
                  <a:pt x="180" y="145"/>
                </a:cubicBezTo>
                <a:cubicBezTo>
                  <a:pt x="185" y="145"/>
                  <a:pt x="188" y="142"/>
                  <a:pt x="190" y="138"/>
                </a:cubicBezTo>
                <a:cubicBezTo>
                  <a:pt x="234" y="23"/>
                  <a:pt x="234" y="23"/>
                  <a:pt x="234" y="23"/>
                </a:cubicBezTo>
                <a:cubicBezTo>
                  <a:pt x="369" y="23"/>
                  <a:pt x="369" y="23"/>
                  <a:pt x="369" y="23"/>
                </a:cubicBezTo>
                <a:cubicBezTo>
                  <a:pt x="368" y="106"/>
                  <a:pt x="368" y="106"/>
                  <a:pt x="368" y="106"/>
                </a:cubicBezTo>
                <a:cubicBezTo>
                  <a:pt x="343" y="105"/>
                  <a:pt x="287" y="109"/>
                  <a:pt x="266" y="160"/>
                </a:cubicBezTo>
                <a:cubicBezTo>
                  <a:pt x="264" y="166"/>
                  <a:pt x="267" y="172"/>
                  <a:pt x="272" y="174"/>
                </a:cubicBezTo>
                <a:cubicBezTo>
                  <a:pt x="278" y="177"/>
                  <a:pt x="284" y="174"/>
                  <a:pt x="287" y="168"/>
                </a:cubicBezTo>
                <a:close/>
                <a:moveTo>
                  <a:pt x="594" y="256"/>
                </a:moveTo>
                <a:cubicBezTo>
                  <a:pt x="567" y="191"/>
                  <a:pt x="483" y="202"/>
                  <a:pt x="480" y="202"/>
                </a:cubicBezTo>
                <a:cubicBezTo>
                  <a:pt x="474" y="203"/>
                  <a:pt x="470" y="208"/>
                  <a:pt x="471" y="213"/>
                </a:cubicBezTo>
                <a:cubicBezTo>
                  <a:pt x="471" y="252"/>
                  <a:pt x="471" y="252"/>
                  <a:pt x="471" y="252"/>
                </a:cubicBezTo>
                <a:cubicBezTo>
                  <a:pt x="471" y="258"/>
                  <a:pt x="476" y="263"/>
                  <a:pt x="482" y="263"/>
                </a:cubicBezTo>
                <a:cubicBezTo>
                  <a:pt x="488" y="263"/>
                  <a:pt x="493" y="258"/>
                  <a:pt x="493" y="252"/>
                </a:cubicBezTo>
                <a:cubicBezTo>
                  <a:pt x="493" y="223"/>
                  <a:pt x="493" y="223"/>
                  <a:pt x="493" y="223"/>
                </a:cubicBezTo>
                <a:cubicBezTo>
                  <a:pt x="512" y="223"/>
                  <a:pt x="558" y="226"/>
                  <a:pt x="574" y="264"/>
                </a:cubicBezTo>
                <a:cubicBezTo>
                  <a:pt x="576" y="268"/>
                  <a:pt x="580" y="271"/>
                  <a:pt x="584" y="271"/>
                </a:cubicBezTo>
                <a:cubicBezTo>
                  <a:pt x="585" y="271"/>
                  <a:pt x="587" y="270"/>
                  <a:pt x="588" y="270"/>
                </a:cubicBezTo>
                <a:cubicBezTo>
                  <a:pt x="594" y="268"/>
                  <a:pt x="596" y="261"/>
                  <a:pt x="594" y="256"/>
                </a:cubicBezTo>
                <a:close/>
                <a:moveTo>
                  <a:pt x="267" y="123"/>
                </a:moveTo>
                <a:cubicBezTo>
                  <a:pt x="273" y="123"/>
                  <a:pt x="278" y="118"/>
                  <a:pt x="278" y="112"/>
                </a:cubicBezTo>
                <a:cubicBezTo>
                  <a:pt x="278" y="76"/>
                  <a:pt x="278" y="76"/>
                  <a:pt x="278" y="76"/>
                </a:cubicBezTo>
                <a:cubicBezTo>
                  <a:pt x="278" y="70"/>
                  <a:pt x="273" y="65"/>
                  <a:pt x="267" y="65"/>
                </a:cubicBezTo>
                <a:cubicBezTo>
                  <a:pt x="261" y="65"/>
                  <a:pt x="256" y="70"/>
                  <a:pt x="256" y="76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220" y="101"/>
                  <a:pt x="215" y="106"/>
                  <a:pt x="215" y="112"/>
                </a:cubicBezTo>
                <a:cubicBezTo>
                  <a:pt x="215" y="118"/>
                  <a:pt x="220" y="123"/>
                  <a:pt x="226" y="123"/>
                </a:cubicBezTo>
                <a:lnTo>
                  <a:pt x="267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70" name="Freeform 6"/>
          <p:cNvSpPr>
            <a:spLocks noEditPoints="1"/>
          </p:cNvSpPr>
          <p:nvPr/>
        </p:nvSpPr>
        <p:spPr bwMode="auto">
          <a:xfrm>
            <a:off x="5160744" y="1836296"/>
            <a:ext cx="1017322" cy="510533"/>
          </a:xfrm>
          <a:custGeom>
            <a:avLst/>
            <a:gdLst>
              <a:gd name="T0" fmla="*/ 603 w 820"/>
              <a:gd name="T1" fmla="*/ 350 h 411"/>
              <a:gd name="T2" fmla="*/ 653 w 820"/>
              <a:gd name="T3" fmla="*/ 350 h 411"/>
              <a:gd name="T4" fmla="*/ 157 w 820"/>
              <a:gd name="T5" fmla="*/ 350 h 411"/>
              <a:gd name="T6" fmla="*/ 170 w 820"/>
              <a:gd name="T7" fmla="*/ 336 h 411"/>
              <a:gd name="T8" fmla="*/ 410 w 820"/>
              <a:gd name="T9" fmla="*/ 411 h 411"/>
              <a:gd name="T10" fmla="*/ 410 w 820"/>
              <a:gd name="T11" fmla="*/ 389 h 411"/>
              <a:gd name="T12" fmla="*/ 450 w 820"/>
              <a:gd name="T13" fmla="*/ 350 h 411"/>
              <a:gd name="T14" fmla="*/ 396 w 820"/>
              <a:gd name="T15" fmla="*/ 350 h 411"/>
              <a:gd name="T16" fmla="*/ 410 w 820"/>
              <a:gd name="T17" fmla="*/ 336 h 411"/>
              <a:gd name="T18" fmla="*/ 537 w 820"/>
              <a:gd name="T19" fmla="*/ 411 h 411"/>
              <a:gd name="T20" fmla="*/ 537 w 820"/>
              <a:gd name="T21" fmla="*/ 389 h 411"/>
              <a:gd name="T22" fmla="*/ 576 w 820"/>
              <a:gd name="T23" fmla="*/ 350 h 411"/>
              <a:gd name="T24" fmla="*/ 523 w 820"/>
              <a:gd name="T25" fmla="*/ 350 h 411"/>
              <a:gd name="T26" fmla="*/ 537 w 820"/>
              <a:gd name="T27" fmla="*/ 336 h 411"/>
              <a:gd name="T28" fmla="*/ 170 w 820"/>
              <a:gd name="T29" fmla="*/ 288 h 411"/>
              <a:gd name="T30" fmla="*/ 231 w 820"/>
              <a:gd name="T31" fmla="*/ 361 h 411"/>
              <a:gd name="T32" fmla="*/ 327 w 820"/>
              <a:gd name="T33" fmla="*/ 339 h 411"/>
              <a:gd name="T34" fmla="*/ 170 w 820"/>
              <a:gd name="T35" fmla="*/ 310 h 411"/>
              <a:gd name="T36" fmla="*/ 186 w 820"/>
              <a:gd name="T37" fmla="*/ 277 h 411"/>
              <a:gd name="T38" fmla="*/ 199 w 820"/>
              <a:gd name="T39" fmla="*/ 135 h 411"/>
              <a:gd name="T40" fmla="*/ 66 w 820"/>
              <a:gd name="T41" fmla="*/ 134 h 411"/>
              <a:gd name="T42" fmla="*/ 23 w 820"/>
              <a:gd name="T43" fmla="*/ 228 h 411"/>
              <a:gd name="T44" fmla="*/ 0 w 820"/>
              <a:gd name="T45" fmla="*/ 320 h 411"/>
              <a:gd name="T46" fmla="*/ 45 w 820"/>
              <a:gd name="T47" fmla="*/ 320 h 411"/>
              <a:gd name="T48" fmla="*/ 77 w 820"/>
              <a:gd name="T49" fmla="*/ 209 h 411"/>
              <a:gd name="T50" fmla="*/ 177 w 820"/>
              <a:gd name="T51" fmla="*/ 253 h 411"/>
              <a:gd name="T52" fmla="*/ 108 w 820"/>
              <a:gd name="T53" fmla="*/ 316 h 411"/>
              <a:gd name="T54" fmla="*/ 151 w 820"/>
              <a:gd name="T55" fmla="*/ 203 h 411"/>
              <a:gd name="T56" fmla="*/ 129 w 820"/>
              <a:gd name="T57" fmla="*/ 168 h 411"/>
              <a:gd name="T58" fmla="*/ 88 w 820"/>
              <a:gd name="T59" fmla="*/ 203 h 411"/>
              <a:gd name="T60" fmla="*/ 642 w 820"/>
              <a:gd name="T61" fmla="*/ 248 h 411"/>
              <a:gd name="T62" fmla="*/ 244 w 820"/>
              <a:gd name="T63" fmla="*/ 193 h 411"/>
              <a:gd name="T64" fmla="*/ 244 w 820"/>
              <a:gd name="T65" fmla="*/ 270 h 411"/>
              <a:gd name="T66" fmla="*/ 642 w 820"/>
              <a:gd name="T67" fmla="*/ 248 h 411"/>
              <a:gd name="T68" fmla="*/ 627 w 820"/>
              <a:gd name="T69" fmla="*/ 23 h 411"/>
              <a:gd name="T70" fmla="*/ 273 w 820"/>
              <a:gd name="T71" fmla="*/ 141 h 411"/>
              <a:gd name="T72" fmla="*/ 654 w 820"/>
              <a:gd name="T73" fmla="*/ 30 h 411"/>
              <a:gd name="T74" fmla="*/ 815 w 820"/>
              <a:gd name="T75" fmla="*/ 127 h 411"/>
              <a:gd name="T76" fmla="*/ 651 w 820"/>
              <a:gd name="T77" fmla="*/ 15 h 411"/>
              <a:gd name="T78" fmla="*/ 798 w 820"/>
              <a:gd name="T79" fmla="*/ 152 h 411"/>
              <a:gd name="T80" fmla="*/ 799 w 820"/>
              <a:gd name="T81" fmla="*/ 243 h 411"/>
              <a:gd name="T82" fmla="*/ 810 w 820"/>
              <a:gd name="T83" fmla="*/ 143 h 411"/>
              <a:gd name="T84" fmla="*/ 383 w 820"/>
              <a:gd name="T85" fmla="*/ 176 h 411"/>
              <a:gd name="T86" fmla="*/ 255 w 820"/>
              <a:gd name="T87" fmla="*/ 186 h 411"/>
              <a:gd name="T88" fmla="*/ 418 w 820"/>
              <a:gd name="T89" fmla="*/ 222 h 411"/>
              <a:gd name="T90" fmla="*/ 657 w 820"/>
              <a:gd name="T91" fmla="*/ 2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20" h="411">
                <a:moveTo>
                  <a:pt x="642" y="339"/>
                </a:moveTo>
                <a:cubicBezTo>
                  <a:pt x="614" y="339"/>
                  <a:pt x="614" y="339"/>
                  <a:pt x="614" y="339"/>
                </a:cubicBezTo>
                <a:cubicBezTo>
                  <a:pt x="608" y="339"/>
                  <a:pt x="603" y="344"/>
                  <a:pt x="603" y="350"/>
                </a:cubicBezTo>
                <a:cubicBezTo>
                  <a:pt x="603" y="356"/>
                  <a:pt x="608" y="361"/>
                  <a:pt x="614" y="361"/>
                </a:cubicBezTo>
                <a:cubicBezTo>
                  <a:pt x="642" y="361"/>
                  <a:pt x="642" y="361"/>
                  <a:pt x="642" y="361"/>
                </a:cubicBezTo>
                <a:cubicBezTo>
                  <a:pt x="648" y="361"/>
                  <a:pt x="653" y="356"/>
                  <a:pt x="653" y="350"/>
                </a:cubicBezTo>
                <a:cubicBezTo>
                  <a:pt x="653" y="344"/>
                  <a:pt x="648" y="339"/>
                  <a:pt x="642" y="339"/>
                </a:cubicBezTo>
                <a:close/>
                <a:moveTo>
                  <a:pt x="170" y="336"/>
                </a:moveTo>
                <a:cubicBezTo>
                  <a:pt x="163" y="336"/>
                  <a:pt x="157" y="342"/>
                  <a:pt x="157" y="350"/>
                </a:cubicBezTo>
                <a:cubicBezTo>
                  <a:pt x="157" y="357"/>
                  <a:pt x="163" y="364"/>
                  <a:pt x="170" y="364"/>
                </a:cubicBezTo>
                <a:cubicBezTo>
                  <a:pt x="178" y="364"/>
                  <a:pt x="184" y="357"/>
                  <a:pt x="184" y="350"/>
                </a:cubicBezTo>
                <a:cubicBezTo>
                  <a:pt x="184" y="342"/>
                  <a:pt x="178" y="336"/>
                  <a:pt x="170" y="336"/>
                </a:cubicBezTo>
                <a:close/>
                <a:moveTo>
                  <a:pt x="410" y="288"/>
                </a:moveTo>
                <a:cubicBezTo>
                  <a:pt x="376" y="288"/>
                  <a:pt x="349" y="316"/>
                  <a:pt x="349" y="350"/>
                </a:cubicBezTo>
                <a:cubicBezTo>
                  <a:pt x="349" y="384"/>
                  <a:pt x="376" y="411"/>
                  <a:pt x="410" y="411"/>
                </a:cubicBezTo>
                <a:cubicBezTo>
                  <a:pt x="444" y="411"/>
                  <a:pt x="472" y="384"/>
                  <a:pt x="472" y="350"/>
                </a:cubicBezTo>
                <a:cubicBezTo>
                  <a:pt x="472" y="316"/>
                  <a:pt x="444" y="288"/>
                  <a:pt x="410" y="288"/>
                </a:cubicBezTo>
                <a:close/>
                <a:moveTo>
                  <a:pt x="410" y="389"/>
                </a:moveTo>
                <a:cubicBezTo>
                  <a:pt x="388" y="389"/>
                  <a:pt x="371" y="371"/>
                  <a:pt x="371" y="350"/>
                </a:cubicBezTo>
                <a:cubicBezTo>
                  <a:pt x="371" y="328"/>
                  <a:pt x="388" y="310"/>
                  <a:pt x="410" y="310"/>
                </a:cubicBezTo>
                <a:cubicBezTo>
                  <a:pt x="432" y="310"/>
                  <a:pt x="450" y="328"/>
                  <a:pt x="450" y="350"/>
                </a:cubicBezTo>
                <a:cubicBezTo>
                  <a:pt x="450" y="371"/>
                  <a:pt x="432" y="389"/>
                  <a:pt x="410" y="389"/>
                </a:cubicBezTo>
                <a:close/>
                <a:moveTo>
                  <a:pt x="410" y="336"/>
                </a:moveTo>
                <a:cubicBezTo>
                  <a:pt x="403" y="336"/>
                  <a:pt x="396" y="342"/>
                  <a:pt x="396" y="350"/>
                </a:cubicBezTo>
                <a:cubicBezTo>
                  <a:pt x="396" y="357"/>
                  <a:pt x="403" y="364"/>
                  <a:pt x="410" y="364"/>
                </a:cubicBezTo>
                <a:cubicBezTo>
                  <a:pt x="418" y="364"/>
                  <a:pt x="424" y="357"/>
                  <a:pt x="424" y="350"/>
                </a:cubicBezTo>
                <a:cubicBezTo>
                  <a:pt x="424" y="342"/>
                  <a:pt x="418" y="336"/>
                  <a:pt x="410" y="336"/>
                </a:cubicBezTo>
                <a:close/>
                <a:moveTo>
                  <a:pt x="537" y="288"/>
                </a:moveTo>
                <a:cubicBezTo>
                  <a:pt x="503" y="288"/>
                  <a:pt x="475" y="316"/>
                  <a:pt x="475" y="350"/>
                </a:cubicBezTo>
                <a:cubicBezTo>
                  <a:pt x="475" y="384"/>
                  <a:pt x="503" y="411"/>
                  <a:pt x="537" y="411"/>
                </a:cubicBezTo>
                <a:cubicBezTo>
                  <a:pt x="571" y="411"/>
                  <a:pt x="598" y="384"/>
                  <a:pt x="598" y="350"/>
                </a:cubicBezTo>
                <a:cubicBezTo>
                  <a:pt x="598" y="316"/>
                  <a:pt x="571" y="288"/>
                  <a:pt x="537" y="288"/>
                </a:cubicBezTo>
                <a:close/>
                <a:moveTo>
                  <a:pt x="537" y="389"/>
                </a:moveTo>
                <a:cubicBezTo>
                  <a:pt x="515" y="389"/>
                  <a:pt x="497" y="371"/>
                  <a:pt x="497" y="350"/>
                </a:cubicBezTo>
                <a:cubicBezTo>
                  <a:pt x="497" y="328"/>
                  <a:pt x="515" y="310"/>
                  <a:pt x="537" y="310"/>
                </a:cubicBezTo>
                <a:cubicBezTo>
                  <a:pt x="559" y="310"/>
                  <a:pt x="576" y="328"/>
                  <a:pt x="576" y="350"/>
                </a:cubicBezTo>
                <a:cubicBezTo>
                  <a:pt x="576" y="371"/>
                  <a:pt x="559" y="389"/>
                  <a:pt x="537" y="389"/>
                </a:cubicBezTo>
                <a:close/>
                <a:moveTo>
                  <a:pt x="537" y="336"/>
                </a:moveTo>
                <a:cubicBezTo>
                  <a:pt x="529" y="336"/>
                  <a:pt x="523" y="342"/>
                  <a:pt x="523" y="350"/>
                </a:cubicBezTo>
                <a:cubicBezTo>
                  <a:pt x="523" y="357"/>
                  <a:pt x="529" y="364"/>
                  <a:pt x="537" y="364"/>
                </a:cubicBezTo>
                <a:cubicBezTo>
                  <a:pt x="544" y="364"/>
                  <a:pt x="551" y="357"/>
                  <a:pt x="551" y="350"/>
                </a:cubicBezTo>
                <a:cubicBezTo>
                  <a:pt x="551" y="342"/>
                  <a:pt x="544" y="336"/>
                  <a:pt x="537" y="336"/>
                </a:cubicBezTo>
                <a:close/>
                <a:moveTo>
                  <a:pt x="327" y="339"/>
                </a:moveTo>
                <a:cubicBezTo>
                  <a:pt x="231" y="339"/>
                  <a:pt x="231" y="339"/>
                  <a:pt x="231" y="339"/>
                </a:cubicBezTo>
                <a:cubicBezTo>
                  <a:pt x="226" y="310"/>
                  <a:pt x="201" y="288"/>
                  <a:pt x="170" y="288"/>
                </a:cubicBezTo>
                <a:cubicBezTo>
                  <a:pt x="136" y="288"/>
                  <a:pt x="109" y="316"/>
                  <a:pt x="109" y="350"/>
                </a:cubicBezTo>
                <a:cubicBezTo>
                  <a:pt x="109" y="384"/>
                  <a:pt x="136" y="411"/>
                  <a:pt x="170" y="411"/>
                </a:cubicBezTo>
                <a:cubicBezTo>
                  <a:pt x="201" y="411"/>
                  <a:pt x="226" y="389"/>
                  <a:pt x="231" y="361"/>
                </a:cubicBezTo>
                <a:cubicBezTo>
                  <a:pt x="327" y="361"/>
                  <a:pt x="327" y="361"/>
                  <a:pt x="327" y="361"/>
                </a:cubicBezTo>
                <a:cubicBezTo>
                  <a:pt x="333" y="361"/>
                  <a:pt x="338" y="356"/>
                  <a:pt x="338" y="350"/>
                </a:cubicBezTo>
                <a:cubicBezTo>
                  <a:pt x="338" y="344"/>
                  <a:pt x="333" y="339"/>
                  <a:pt x="327" y="339"/>
                </a:cubicBezTo>
                <a:close/>
                <a:moveTo>
                  <a:pt x="170" y="389"/>
                </a:moveTo>
                <a:cubicBezTo>
                  <a:pt x="149" y="389"/>
                  <a:pt x="131" y="371"/>
                  <a:pt x="131" y="350"/>
                </a:cubicBezTo>
                <a:cubicBezTo>
                  <a:pt x="131" y="328"/>
                  <a:pt x="149" y="310"/>
                  <a:pt x="170" y="310"/>
                </a:cubicBezTo>
                <a:cubicBezTo>
                  <a:pt x="192" y="310"/>
                  <a:pt x="210" y="328"/>
                  <a:pt x="210" y="350"/>
                </a:cubicBezTo>
                <a:cubicBezTo>
                  <a:pt x="210" y="371"/>
                  <a:pt x="192" y="389"/>
                  <a:pt x="170" y="389"/>
                </a:cubicBezTo>
                <a:close/>
                <a:moveTo>
                  <a:pt x="186" y="277"/>
                </a:moveTo>
                <a:cubicBezTo>
                  <a:pt x="189" y="277"/>
                  <a:pt x="192" y="277"/>
                  <a:pt x="195" y="274"/>
                </a:cubicBezTo>
                <a:cubicBezTo>
                  <a:pt x="197" y="272"/>
                  <a:pt x="199" y="269"/>
                  <a:pt x="199" y="266"/>
                </a:cubicBezTo>
                <a:cubicBezTo>
                  <a:pt x="199" y="135"/>
                  <a:pt x="199" y="135"/>
                  <a:pt x="199" y="135"/>
                </a:cubicBezTo>
                <a:cubicBezTo>
                  <a:pt x="199" y="129"/>
                  <a:pt x="194" y="124"/>
                  <a:pt x="188" y="124"/>
                </a:cubicBezTo>
                <a:cubicBezTo>
                  <a:pt x="77" y="124"/>
                  <a:pt x="77" y="124"/>
                  <a:pt x="77" y="124"/>
                </a:cubicBezTo>
                <a:cubicBezTo>
                  <a:pt x="71" y="124"/>
                  <a:pt x="67" y="128"/>
                  <a:pt x="66" y="134"/>
                </a:cubicBezTo>
                <a:cubicBezTo>
                  <a:pt x="56" y="201"/>
                  <a:pt x="56" y="201"/>
                  <a:pt x="56" y="201"/>
                </a:cubicBezTo>
                <a:cubicBezTo>
                  <a:pt x="28" y="219"/>
                  <a:pt x="28" y="219"/>
                  <a:pt x="28" y="219"/>
                </a:cubicBezTo>
                <a:cubicBezTo>
                  <a:pt x="25" y="221"/>
                  <a:pt x="23" y="225"/>
                  <a:pt x="23" y="228"/>
                </a:cubicBezTo>
                <a:cubicBezTo>
                  <a:pt x="23" y="309"/>
                  <a:pt x="23" y="309"/>
                  <a:pt x="23" y="309"/>
                </a:cubicBezTo>
                <a:cubicBezTo>
                  <a:pt x="11" y="309"/>
                  <a:pt x="11" y="309"/>
                  <a:pt x="11" y="309"/>
                </a:cubicBezTo>
                <a:cubicBezTo>
                  <a:pt x="5" y="309"/>
                  <a:pt x="0" y="314"/>
                  <a:pt x="0" y="320"/>
                </a:cubicBezTo>
                <a:cubicBezTo>
                  <a:pt x="0" y="326"/>
                  <a:pt x="5" y="331"/>
                  <a:pt x="11" y="331"/>
                </a:cubicBezTo>
                <a:cubicBezTo>
                  <a:pt x="34" y="331"/>
                  <a:pt x="34" y="331"/>
                  <a:pt x="34" y="331"/>
                </a:cubicBezTo>
                <a:cubicBezTo>
                  <a:pt x="40" y="331"/>
                  <a:pt x="45" y="326"/>
                  <a:pt x="45" y="320"/>
                </a:cubicBezTo>
                <a:cubicBezTo>
                  <a:pt x="45" y="234"/>
                  <a:pt x="45" y="234"/>
                  <a:pt x="45" y="234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75" y="215"/>
                  <a:pt x="77" y="212"/>
                  <a:pt x="77" y="209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177" y="146"/>
                  <a:pt x="177" y="146"/>
                  <a:pt x="177" y="146"/>
                </a:cubicBezTo>
                <a:cubicBezTo>
                  <a:pt x="177" y="253"/>
                  <a:pt x="177" y="253"/>
                  <a:pt x="177" y="253"/>
                </a:cubicBezTo>
                <a:cubicBezTo>
                  <a:pt x="147" y="251"/>
                  <a:pt x="102" y="261"/>
                  <a:pt x="87" y="310"/>
                </a:cubicBezTo>
                <a:cubicBezTo>
                  <a:pt x="85" y="316"/>
                  <a:pt x="88" y="322"/>
                  <a:pt x="94" y="324"/>
                </a:cubicBezTo>
                <a:cubicBezTo>
                  <a:pt x="100" y="326"/>
                  <a:pt x="106" y="322"/>
                  <a:pt x="108" y="316"/>
                </a:cubicBezTo>
                <a:cubicBezTo>
                  <a:pt x="123" y="265"/>
                  <a:pt x="183" y="276"/>
                  <a:pt x="186" y="277"/>
                </a:cubicBezTo>
                <a:close/>
                <a:moveTo>
                  <a:pt x="140" y="214"/>
                </a:moveTo>
                <a:cubicBezTo>
                  <a:pt x="146" y="214"/>
                  <a:pt x="151" y="210"/>
                  <a:pt x="151" y="203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51" y="162"/>
                  <a:pt x="146" y="157"/>
                  <a:pt x="140" y="157"/>
                </a:cubicBezTo>
                <a:cubicBezTo>
                  <a:pt x="134" y="157"/>
                  <a:pt x="129" y="162"/>
                  <a:pt x="129" y="168"/>
                </a:cubicBezTo>
                <a:cubicBezTo>
                  <a:pt x="129" y="193"/>
                  <a:pt x="129" y="193"/>
                  <a:pt x="129" y="193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93" y="193"/>
                  <a:pt x="88" y="197"/>
                  <a:pt x="88" y="203"/>
                </a:cubicBezTo>
                <a:cubicBezTo>
                  <a:pt x="88" y="210"/>
                  <a:pt x="93" y="214"/>
                  <a:pt x="99" y="214"/>
                </a:cubicBezTo>
                <a:lnTo>
                  <a:pt x="140" y="214"/>
                </a:lnTo>
                <a:close/>
                <a:moveTo>
                  <a:pt x="642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04"/>
                  <a:pt x="255" y="204"/>
                  <a:pt x="255" y="204"/>
                </a:cubicBezTo>
                <a:cubicBezTo>
                  <a:pt x="255" y="198"/>
                  <a:pt x="250" y="193"/>
                  <a:pt x="244" y="193"/>
                </a:cubicBezTo>
                <a:cubicBezTo>
                  <a:pt x="238" y="193"/>
                  <a:pt x="233" y="198"/>
                  <a:pt x="233" y="204"/>
                </a:cubicBezTo>
                <a:cubicBezTo>
                  <a:pt x="233" y="259"/>
                  <a:pt x="233" y="259"/>
                  <a:pt x="233" y="259"/>
                </a:cubicBezTo>
                <a:cubicBezTo>
                  <a:pt x="233" y="265"/>
                  <a:pt x="238" y="270"/>
                  <a:pt x="244" y="270"/>
                </a:cubicBezTo>
                <a:cubicBezTo>
                  <a:pt x="642" y="270"/>
                  <a:pt x="642" y="270"/>
                  <a:pt x="642" y="270"/>
                </a:cubicBezTo>
                <a:cubicBezTo>
                  <a:pt x="648" y="270"/>
                  <a:pt x="653" y="265"/>
                  <a:pt x="653" y="259"/>
                </a:cubicBezTo>
                <a:cubicBezTo>
                  <a:pt x="653" y="253"/>
                  <a:pt x="648" y="248"/>
                  <a:pt x="642" y="248"/>
                </a:cubicBezTo>
                <a:close/>
                <a:moveTo>
                  <a:pt x="277" y="162"/>
                </a:moveTo>
                <a:cubicBezTo>
                  <a:pt x="278" y="162"/>
                  <a:pt x="280" y="161"/>
                  <a:pt x="281" y="161"/>
                </a:cubicBezTo>
                <a:cubicBezTo>
                  <a:pt x="627" y="23"/>
                  <a:pt x="627" y="23"/>
                  <a:pt x="627" y="23"/>
                </a:cubicBezTo>
                <a:cubicBezTo>
                  <a:pt x="633" y="21"/>
                  <a:pt x="636" y="14"/>
                  <a:pt x="634" y="9"/>
                </a:cubicBezTo>
                <a:cubicBezTo>
                  <a:pt x="631" y="3"/>
                  <a:pt x="625" y="0"/>
                  <a:pt x="619" y="3"/>
                </a:cubicBezTo>
                <a:cubicBezTo>
                  <a:pt x="273" y="141"/>
                  <a:pt x="273" y="141"/>
                  <a:pt x="273" y="141"/>
                </a:cubicBezTo>
                <a:cubicBezTo>
                  <a:pt x="267" y="143"/>
                  <a:pt x="265" y="149"/>
                  <a:pt x="267" y="155"/>
                </a:cubicBezTo>
                <a:cubicBezTo>
                  <a:pt x="269" y="159"/>
                  <a:pt x="273" y="162"/>
                  <a:pt x="277" y="162"/>
                </a:cubicBezTo>
                <a:close/>
                <a:moveTo>
                  <a:pt x="654" y="30"/>
                </a:moveTo>
                <a:cubicBezTo>
                  <a:pt x="800" y="130"/>
                  <a:pt x="800" y="130"/>
                  <a:pt x="800" y="130"/>
                </a:cubicBezTo>
                <a:cubicBezTo>
                  <a:pt x="802" y="131"/>
                  <a:pt x="804" y="132"/>
                  <a:pt x="806" y="132"/>
                </a:cubicBezTo>
                <a:cubicBezTo>
                  <a:pt x="810" y="132"/>
                  <a:pt x="813" y="130"/>
                  <a:pt x="815" y="127"/>
                </a:cubicBezTo>
                <a:cubicBezTo>
                  <a:pt x="819" y="122"/>
                  <a:pt x="818" y="115"/>
                  <a:pt x="813" y="112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1" y="9"/>
                  <a:pt x="654" y="10"/>
                  <a:pt x="651" y="15"/>
                </a:cubicBezTo>
                <a:cubicBezTo>
                  <a:pt x="648" y="20"/>
                  <a:pt x="649" y="27"/>
                  <a:pt x="654" y="30"/>
                </a:cubicBezTo>
                <a:close/>
                <a:moveTo>
                  <a:pt x="810" y="143"/>
                </a:moveTo>
                <a:cubicBezTo>
                  <a:pt x="804" y="142"/>
                  <a:pt x="798" y="146"/>
                  <a:pt x="798" y="152"/>
                </a:cubicBezTo>
                <a:cubicBezTo>
                  <a:pt x="788" y="230"/>
                  <a:pt x="788" y="230"/>
                  <a:pt x="788" y="230"/>
                </a:cubicBezTo>
                <a:cubicBezTo>
                  <a:pt x="788" y="236"/>
                  <a:pt x="792" y="242"/>
                  <a:pt x="798" y="243"/>
                </a:cubicBezTo>
                <a:cubicBezTo>
                  <a:pt x="799" y="243"/>
                  <a:pt x="799" y="243"/>
                  <a:pt x="799" y="243"/>
                </a:cubicBezTo>
                <a:cubicBezTo>
                  <a:pt x="805" y="243"/>
                  <a:pt x="810" y="239"/>
                  <a:pt x="810" y="233"/>
                </a:cubicBezTo>
                <a:cubicBezTo>
                  <a:pt x="819" y="155"/>
                  <a:pt x="819" y="155"/>
                  <a:pt x="819" y="155"/>
                </a:cubicBezTo>
                <a:cubicBezTo>
                  <a:pt x="820" y="149"/>
                  <a:pt x="816" y="144"/>
                  <a:pt x="810" y="143"/>
                </a:cubicBezTo>
                <a:close/>
                <a:moveTo>
                  <a:pt x="646" y="202"/>
                </a:moveTo>
                <a:cubicBezTo>
                  <a:pt x="427" y="202"/>
                  <a:pt x="427" y="202"/>
                  <a:pt x="427" y="202"/>
                </a:cubicBezTo>
                <a:cubicBezTo>
                  <a:pt x="383" y="176"/>
                  <a:pt x="383" y="176"/>
                  <a:pt x="383" y="176"/>
                </a:cubicBezTo>
                <a:cubicBezTo>
                  <a:pt x="381" y="175"/>
                  <a:pt x="379" y="175"/>
                  <a:pt x="377" y="17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59" y="175"/>
                  <a:pt x="255" y="180"/>
                  <a:pt x="255" y="186"/>
                </a:cubicBezTo>
                <a:cubicBezTo>
                  <a:pt x="255" y="192"/>
                  <a:pt x="259" y="197"/>
                  <a:pt x="266" y="197"/>
                </a:cubicBezTo>
                <a:cubicBezTo>
                  <a:pt x="374" y="197"/>
                  <a:pt x="374" y="197"/>
                  <a:pt x="374" y="197"/>
                </a:cubicBezTo>
                <a:cubicBezTo>
                  <a:pt x="418" y="222"/>
                  <a:pt x="418" y="222"/>
                  <a:pt x="418" y="222"/>
                </a:cubicBezTo>
                <a:cubicBezTo>
                  <a:pt x="420" y="223"/>
                  <a:pt x="422" y="224"/>
                  <a:pt x="424" y="224"/>
                </a:cubicBezTo>
                <a:cubicBezTo>
                  <a:pt x="646" y="224"/>
                  <a:pt x="646" y="224"/>
                  <a:pt x="646" y="224"/>
                </a:cubicBezTo>
                <a:cubicBezTo>
                  <a:pt x="652" y="224"/>
                  <a:pt x="657" y="219"/>
                  <a:pt x="657" y="213"/>
                </a:cubicBezTo>
                <a:cubicBezTo>
                  <a:pt x="657" y="207"/>
                  <a:pt x="652" y="202"/>
                  <a:pt x="646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371" name="Group 136"/>
          <p:cNvGrpSpPr/>
          <p:nvPr/>
        </p:nvGrpSpPr>
        <p:grpSpPr>
          <a:xfrm>
            <a:off x="9219575" y="1945993"/>
            <a:ext cx="753346" cy="395613"/>
            <a:chOff x="13066713" y="8956675"/>
            <a:chExt cx="1136651" cy="596900"/>
          </a:xfrm>
          <a:solidFill>
            <a:schemeClr val="bg1"/>
          </a:solidFill>
        </p:grpSpPr>
        <p:sp>
          <p:nvSpPr>
            <p:cNvPr id="372" name="Freeform 1461"/>
            <p:cNvSpPr>
              <a:spLocks noEditPoints="1"/>
            </p:cNvSpPr>
            <p:nvPr/>
          </p:nvSpPr>
          <p:spPr bwMode="auto">
            <a:xfrm>
              <a:off x="13260388" y="9337675"/>
              <a:ext cx="215900" cy="215900"/>
            </a:xfrm>
            <a:custGeom>
              <a:avLst/>
              <a:gdLst>
                <a:gd name="T0" fmla="*/ 33 w 67"/>
                <a:gd name="T1" fmla="*/ 67 h 67"/>
                <a:gd name="T2" fmla="*/ 0 w 67"/>
                <a:gd name="T3" fmla="*/ 33 h 67"/>
                <a:gd name="T4" fmla="*/ 33 w 67"/>
                <a:gd name="T5" fmla="*/ 0 h 67"/>
                <a:gd name="T6" fmla="*/ 67 w 67"/>
                <a:gd name="T7" fmla="*/ 33 h 67"/>
                <a:gd name="T8" fmla="*/ 33 w 67"/>
                <a:gd name="T9" fmla="*/ 67 h 67"/>
                <a:gd name="T10" fmla="*/ 33 w 67"/>
                <a:gd name="T11" fmla="*/ 12 h 67"/>
                <a:gd name="T12" fmla="*/ 12 w 67"/>
                <a:gd name="T13" fmla="*/ 33 h 67"/>
                <a:gd name="T14" fmla="*/ 33 w 67"/>
                <a:gd name="T15" fmla="*/ 55 h 67"/>
                <a:gd name="T16" fmla="*/ 55 w 67"/>
                <a:gd name="T17" fmla="*/ 33 h 67"/>
                <a:gd name="T18" fmla="*/ 33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3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lose/>
                  <a:moveTo>
                    <a:pt x="33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3" y="55"/>
                  </a:cubicBezTo>
                  <a:cubicBezTo>
                    <a:pt x="45" y="55"/>
                    <a:pt x="55" y="45"/>
                    <a:pt x="55" y="33"/>
                  </a:cubicBezTo>
                  <a:cubicBezTo>
                    <a:pt x="55" y="21"/>
                    <a:pt x="45" y="12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3" name="Oval 1462"/>
            <p:cNvSpPr>
              <a:spLocks noChangeArrowheads="1"/>
            </p:cNvSpPr>
            <p:nvPr/>
          </p:nvSpPr>
          <p:spPr bwMode="auto">
            <a:xfrm>
              <a:off x="13344526" y="942181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4" name="Freeform 1463"/>
            <p:cNvSpPr>
              <a:spLocks noEditPoints="1"/>
            </p:cNvSpPr>
            <p:nvPr/>
          </p:nvSpPr>
          <p:spPr bwMode="auto">
            <a:xfrm>
              <a:off x="13682663" y="9337675"/>
              <a:ext cx="215900" cy="21590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2 h 67"/>
                <a:gd name="T12" fmla="*/ 12 w 67"/>
                <a:gd name="T13" fmla="*/ 33 h 67"/>
                <a:gd name="T14" fmla="*/ 34 w 67"/>
                <a:gd name="T15" fmla="*/ 55 h 67"/>
                <a:gd name="T16" fmla="*/ 55 w 67"/>
                <a:gd name="T17" fmla="*/ 33 h 67"/>
                <a:gd name="T18" fmla="*/ 34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5" y="45"/>
                    <a:pt x="55" y="33"/>
                  </a:cubicBezTo>
                  <a:cubicBezTo>
                    <a:pt x="55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5" name="Oval 1464"/>
            <p:cNvSpPr>
              <a:spLocks noChangeArrowheads="1"/>
            </p:cNvSpPr>
            <p:nvPr/>
          </p:nvSpPr>
          <p:spPr bwMode="auto">
            <a:xfrm>
              <a:off x="1376680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6" name="Freeform 1465"/>
            <p:cNvSpPr>
              <a:spLocks noEditPoints="1"/>
            </p:cNvSpPr>
            <p:nvPr/>
          </p:nvSpPr>
          <p:spPr bwMode="auto">
            <a:xfrm>
              <a:off x="13906501" y="9337675"/>
              <a:ext cx="219075" cy="215900"/>
            </a:xfrm>
            <a:custGeom>
              <a:avLst/>
              <a:gdLst>
                <a:gd name="T0" fmla="*/ 34 w 68"/>
                <a:gd name="T1" fmla="*/ 67 h 67"/>
                <a:gd name="T2" fmla="*/ 0 w 68"/>
                <a:gd name="T3" fmla="*/ 33 h 67"/>
                <a:gd name="T4" fmla="*/ 34 w 68"/>
                <a:gd name="T5" fmla="*/ 0 h 67"/>
                <a:gd name="T6" fmla="*/ 68 w 68"/>
                <a:gd name="T7" fmla="*/ 33 h 67"/>
                <a:gd name="T8" fmla="*/ 34 w 68"/>
                <a:gd name="T9" fmla="*/ 67 h 67"/>
                <a:gd name="T10" fmla="*/ 34 w 68"/>
                <a:gd name="T11" fmla="*/ 12 h 67"/>
                <a:gd name="T12" fmla="*/ 12 w 68"/>
                <a:gd name="T13" fmla="*/ 33 h 67"/>
                <a:gd name="T14" fmla="*/ 34 w 68"/>
                <a:gd name="T15" fmla="*/ 55 h 67"/>
                <a:gd name="T16" fmla="*/ 56 w 68"/>
                <a:gd name="T17" fmla="*/ 33 h 67"/>
                <a:gd name="T18" fmla="*/ 34 w 68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8" y="15"/>
                    <a:pt x="68" y="33"/>
                  </a:cubicBezTo>
                  <a:cubicBezTo>
                    <a:pt x="68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6" y="45"/>
                    <a:pt x="56" y="33"/>
                  </a:cubicBezTo>
                  <a:cubicBezTo>
                    <a:pt x="56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7" name="Oval 1466"/>
            <p:cNvSpPr>
              <a:spLocks noChangeArrowheads="1"/>
            </p:cNvSpPr>
            <p:nvPr/>
          </p:nvSpPr>
          <p:spPr bwMode="auto">
            <a:xfrm>
              <a:off x="1398905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8" name="Freeform 1467"/>
            <p:cNvSpPr>
              <a:spLocks/>
            </p:cNvSpPr>
            <p:nvPr/>
          </p:nvSpPr>
          <p:spPr bwMode="auto">
            <a:xfrm>
              <a:off x="13438188" y="9424988"/>
              <a:ext cx="225425" cy="38100"/>
            </a:xfrm>
            <a:custGeom>
              <a:avLst/>
              <a:gdLst>
                <a:gd name="T0" fmla="*/ 64 w 70"/>
                <a:gd name="T1" fmla="*/ 12 h 12"/>
                <a:gd name="T2" fmla="*/ 6 w 70"/>
                <a:gd name="T3" fmla="*/ 12 h 12"/>
                <a:gd name="T4" fmla="*/ 0 w 70"/>
                <a:gd name="T5" fmla="*/ 6 h 12"/>
                <a:gd name="T6" fmla="*/ 6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0" y="3"/>
                    <a:pt x="70" y="6"/>
                  </a:cubicBezTo>
                  <a:cubicBezTo>
                    <a:pt x="70" y="10"/>
                    <a:pt x="68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9" name="Freeform 1468"/>
            <p:cNvSpPr>
              <a:spLocks/>
            </p:cNvSpPr>
            <p:nvPr/>
          </p:nvSpPr>
          <p:spPr bwMode="auto">
            <a:xfrm>
              <a:off x="13066713" y="9047163"/>
              <a:ext cx="350838" cy="365125"/>
            </a:xfrm>
            <a:custGeom>
              <a:avLst/>
              <a:gdLst>
                <a:gd name="T0" fmla="*/ 19 w 109"/>
                <a:gd name="T1" fmla="*/ 113 h 113"/>
                <a:gd name="T2" fmla="*/ 6 w 109"/>
                <a:gd name="T3" fmla="*/ 113 h 113"/>
                <a:gd name="T4" fmla="*/ 0 w 109"/>
                <a:gd name="T5" fmla="*/ 107 h 113"/>
                <a:gd name="T6" fmla="*/ 6 w 109"/>
                <a:gd name="T7" fmla="*/ 101 h 113"/>
                <a:gd name="T8" fmla="*/ 13 w 109"/>
                <a:gd name="T9" fmla="*/ 101 h 113"/>
                <a:gd name="T10" fmla="*/ 13 w 109"/>
                <a:gd name="T11" fmla="*/ 57 h 113"/>
                <a:gd name="T12" fmla="*/ 16 w 109"/>
                <a:gd name="T13" fmla="*/ 52 h 113"/>
                <a:gd name="T14" fmla="*/ 31 w 109"/>
                <a:gd name="T15" fmla="*/ 42 h 113"/>
                <a:gd name="T16" fmla="*/ 36 w 109"/>
                <a:gd name="T17" fmla="*/ 5 h 113"/>
                <a:gd name="T18" fmla="*/ 42 w 109"/>
                <a:gd name="T19" fmla="*/ 0 h 113"/>
                <a:gd name="T20" fmla="*/ 103 w 109"/>
                <a:gd name="T21" fmla="*/ 0 h 113"/>
                <a:gd name="T22" fmla="*/ 109 w 109"/>
                <a:gd name="T23" fmla="*/ 6 h 113"/>
                <a:gd name="T24" fmla="*/ 109 w 109"/>
                <a:gd name="T25" fmla="*/ 77 h 113"/>
                <a:gd name="T26" fmla="*/ 107 w 109"/>
                <a:gd name="T27" fmla="*/ 82 h 113"/>
                <a:gd name="T28" fmla="*/ 102 w 109"/>
                <a:gd name="T29" fmla="*/ 83 h 113"/>
                <a:gd name="T30" fmla="*/ 59 w 109"/>
                <a:gd name="T31" fmla="*/ 105 h 113"/>
                <a:gd name="T32" fmla="*/ 52 w 109"/>
                <a:gd name="T33" fmla="*/ 109 h 113"/>
                <a:gd name="T34" fmla="*/ 48 w 109"/>
                <a:gd name="T35" fmla="*/ 102 h 113"/>
                <a:gd name="T36" fmla="*/ 97 w 109"/>
                <a:gd name="T37" fmla="*/ 71 h 113"/>
                <a:gd name="T38" fmla="*/ 97 w 109"/>
                <a:gd name="T39" fmla="*/ 12 h 113"/>
                <a:gd name="T40" fmla="*/ 47 w 109"/>
                <a:gd name="T41" fmla="*/ 12 h 113"/>
                <a:gd name="T42" fmla="*/ 43 w 109"/>
                <a:gd name="T43" fmla="*/ 46 h 113"/>
                <a:gd name="T44" fmla="*/ 40 w 109"/>
                <a:gd name="T45" fmla="*/ 50 h 113"/>
                <a:gd name="T46" fmla="*/ 25 w 109"/>
                <a:gd name="T47" fmla="*/ 60 h 113"/>
                <a:gd name="T48" fmla="*/ 25 w 109"/>
                <a:gd name="T49" fmla="*/ 107 h 113"/>
                <a:gd name="T50" fmla="*/ 19 w 109"/>
                <a:gd name="T5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13">
                  <a:moveTo>
                    <a:pt x="19" y="113"/>
                  </a:move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7"/>
                  </a:cubicBezTo>
                  <a:cubicBezTo>
                    <a:pt x="0" y="104"/>
                    <a:pt x="3" y="101"/>
                    <a:pt x="6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5"/>
                    <a:pt x="14" y="53"/>
                    <a:pt x="16" y="5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2"/>
                    <a:pt x="39" y="0"/>
                    <a:pt x="4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6" y="0"/>
                    <a:pt x="109" y="3"/>
                    <a:pt x="109" y="6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109" y="79"/>
                    <a:pt x="108" y="81"/>
                    <a:pt x="107" y="82"/>
                  </a:cubicBezTo>
                  <a:cubicBezTo>
                    <a:pt x="105" y="83"/>
                    <a:pt x="104" y="84"/>
                    <a:pt x="102" y="83"/>
                  </a:cubicBezTo>
                  <a:cubicBezTo>
                    <a:pt x="100" y="83"/>
                    <a:pt x="68" y="77"/>
                    <a:pt x="59" y="105"/>
                  </a:cubicBezTo>
                  <a:cubicBezTo>
                    <a:pt x="58" y="108"/>
                    <a:pt x="55" y="110"/>
                    <a:pt x="52" y="109"/>
                  </a:cubicBezTo>
                  <a:cubicBezTo>
                    <a:pt x="49" y="108"/>
                    <a:pt x="47" y="105"/>
                    <a:pt x="48" y="102"/>
                  </a:cubicBezTo>
                  <a:cubicBezTo>
                    <a:pt x="56" y="75"/>
                    <a:pt x="81" y="69"/>
                    <a:pt x="97" y="71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8"/>
                    <a:pt x="41" y="49"/>
                    <a:pt x="40" y="5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10"/>
                    <a:pt x="22" y="113"/>
                    <a:pt x="19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0" name="Freeform 1469"/>
            <p:cNvSpPr>
              <a:spLocks/>
            </p:cNvSpPr>
            <p:nvPr/>
          </p:nvSpPr>
          <p:spPr bwMode="auto">
            <a:xfrm>
              <a:off x="13223876" y="9105900"/>
              <a:ext cx="109538" cy="100013"/>
            </a:xfrm>
            <a:custGeom>
              <a:avLst/>
              <a:gdLst>
                <a:gd name="T0" fmla="*/ 28 w 34"/>
                <a:gd name="T1" fmla="*/ 31 h 31"/>
                <a:gd name="T2" fmla="*/ 6 w 34"/>
                <a:gd name="T3" fmla="*/ 31 h 31"/>
                <a:gd name="T4" fmla="*/ 0 w 34"/>
                <a:gd name="T5" fmla="*/ 25 h 31"/>
                <a:gd name="T6" fmla="*/ 6 w 34"/>
                <a:gd name="T7" fmla="*/ 19 h 31"/>
                <a:gd name="T8" fmla="*/ 22 w 34"/>
                <a:gd name="T9" fmla="*/ 19 h 31"/>
                <a:gd name="T10" fmla="*/ 22 w 34"/>
                <a:gd name="T11" fmla="*/ 6 h 31"/>
                <a:gd name="T12" fmla="*/ 28 w 34"/>
                <a:gd name="T13" fmla="*/ 0 h 31"/>
                <a:gd name="T14" fmla="*/ 34 w 34"/>
                <a:gd name="T15" fmla="*/ 6 h 31"/>
                <a:gd name="T16" fmla="*/ 34 w 34"/>
                <a:gd name="T17" fmla="*/ 25 h 31"/>
                <a:gd name="T18" fmla="*/ 28 w 3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1">
                  <a:moveTo>
                    <a:pt x="28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2" y="31"/>
                    <a:pt x="0" y="29"/>
                    <a:pt x="0" y="25"/>
                  </a:cubicBezTo>
                  <a:cubicBezTo>
                    <a:pt x="0" y="22"/>
                    <a:pt x="2" y="19"/>
                    <a:pt x="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2"/>
                    <a:pt x="24" y="0"/>
                    <a:pt x="28" y="0"/>
                  </a:cubicBezTo>
                  <a:cubicBezTo>
                    <a:pt x="31" y="0"/>
                    <a:pt x="34" y="2"/>
                    <a:pt x="34" y="6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9"/>
                    <a:pt x="31" y="31"/>
                    <a:pt x="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1" name="Freeform 1470"/>
            <p:cNvSpPr>
              <a:spLocks/>
            </p:cNvSpPr>
            <p:nvPr/>
          </p:nvSpPr>
          <p:spPr bwMode="auto">
            <a:xfrm>
              <a:off x="13295313" y="8956675"/>
              <a:ext cx="871538" cy="396875"/>
            </a:xfrm>
            <a:custGeom>
              <a:avLst/>
              <a:gdLst>
                <a:gd name="T0" fmla="*/ 70 w 270"/>
                <a:gd name="T1" fmla="*/ 123 h 123"/>
                <a:gd name="T2" fmla="*/ 64 w 270"/>
                <a:gd name="T3" fmla="*/ 119 h 123"/>
                <a:gd name="T4" fmla="*/ 44 w 270"/>
                <a:gd name="T5" fmla="*/ 12 h 123"/>
                <a:gd name="T6" fmla="*/ 6 w 270"/>
                <a:gd name="T7" fmla="*/ 12 h 123"/>
                <a:gd name="T8" fmla="*/ 0 w 270"/>
                <a:gd name="T9" fmla="*/ 6 h 123"/>
                <a:gd name="T10" fmla="*/ 6 w 270"/>
                <a:gd name="T11" fmla="*/ 0 h 123"/>
                <a:gd name="T12" fmla="*/ 49 w 270"/>
                <a:gd name="T13" fmla="*/ 0 h 123"/>
                <a:gd name="T14" fmla="*/ 55 w 270"/>
                <a:gd name="T15" fmla="*/ 4 h 123"/>
                <a:gd name="T16" fmla="*/ 75 w 270"/>
                <a:gd name="T17" fmla="*/ 111 h 123"/>
                <a:gd name="T18" fmla="*/ 256 w 270"/>
                <a:gd name="T19" fmla="*/ 79 h 123"/>
                <a:gd name="T20" fmla="*/ 241 w 270"/>
                <a:gd name="T21" fmla="*/ 29 h 123"/>
                <a:gd name="T22" fmla="*/ 82 w 270"/>
                <a:gd name="T23" fmla="*/ 28 h 123"/>
                <a:gd name="T24" fmla="*/ 76 w 270"/>
                <a:gd name="T25" fmla="*/ 22 h 123"/>
                <a:gd name="T26" fmla="*/ 82 w 270"/>
                <a:gd name="T27" fmla="*/ 16 h 123"/>
                <a:gd name="T28" fmla="*/ 82 w 270"/>
                <a:gd name="T29" fmla="*/ 16 h 123"/>
                <a:gd name="T30" fmla="*/ 246 w 270"/>
                <a:gd name="T31" fmla="*/ 17 h 123"/>
                <a:gd name="T32" fmla="*/ 252 w 270"/>
                <a:gd name="T33" fmla="*/ 21 h 123"/>
                <a:gd name="T34" fmla="*/ 270 w 270"/>
                <a:gd name="T35" fmla="*/ 82 h 123"/>
                <a:gd name="T36" fmla="*/ 269 w 270"/>
                <a:gd name="T37" fmla="*/ 87 h 123"/>
                <a:gd name="T38" fmla="*/ 265 w 270"/>
                <a:gd name="T39" fmla="*/ 90 h 123"/>
                <a:gd name="T40" fmla="*/ 71 w 270"/>
                <a:gd name="T41" fmla="*/ 123 h 123"/>
                <a:gd name="T42" fmla="*/ 70 w 270"/>
                <a:gd name="T4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0" h="123">
                  <a:moveTo>
                    <a:pt x="70" y="123"/>
                  </a:moveTo>
                  <a:cubicBezTo>
                    <a:pt x="68" y="123"/>
                    <a:pt x="65" y="121"/>
                    <a:pt x="64" y="11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4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256" y="79"/>
                    <a:pt x="256" y="79"/>
                    <a:pt x="256" y="79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8" y="28"/>
                    <a:pt x="76" y="26"/>
                    <a:pt x="76" y="22"/>
                  </a:cubicBezTo>
                  <a:cubicBezTo>
                    <a:pt x="76" y="19"/>
                    <a:pt x="78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9" y="17"/>
                    <a:pt x="251" y="18"/>
                    <a:pt x="252" y="21"/>
                  </a:cubicBezTo>
                  <a:cubicBezTo>
                    <a:pt x="270" y="82"/>
                    <a:pt x="270" y="82"/>
                    <a:pt x="270" y="82"/>
                  </a:cubicBezTo>
                  <a:cubicBezTo>
                    <a:pt x="270" y="84"/>
                    <a:pt x="270" y="85"/>
                    <a:pt x="269" y="87"/>
                  </a:cubicBezTo>
                  <a:cubicBezTo>
                    <a:pt x="268" y="88"/>
                    <a:pt x="267" y="89"/>
                    <a:pt x="265" y="90"/>
                  </a:cubicBezTo>
                  <a:cubicBezTo>
                    <a:pt x="71" y="123"/>
                    <a:pt x="71" y="123"/>
                    <a:pt x="71" y="123"/>
                  </a:cubicBezTo>
                  <a:cubicBezTo>
                    <a:pt x="71" y="123"/>
                    <a:pt x="71" y="123"/>
                    <a:pt x="70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2" name="Freeform 1471"/>
            <p:cNvSpPr>
              <a:spLocks/>
            </p:cNvSpPr>
            <p:nvPr/>
          </p:nvSpPr>
          <p:spPr bwMode="auto">
            <a:xfrm>
              <a:off x="14138276" y="9424988"/>
              <a:ext cx="65088" cy="38100"/>
            </a:xfrm>
            <a:custGeom>
              <a:avLst/>
              <a:gdLst>
                <a:gd name="T0" fmla="*/ 14 w 20"/>
                <a:gd name="T1" fmla="*/ 12 h 12"/>
                <a:gd name="T2" fmla="*/ 6 w 20"/>
                <a:gd name="T3" fmla="*/ 12 h 12"/>
                <a:gd name="T4" fmla="*/ 0 w 20"/>
                <a:gd name="T5" fmla="*/ 6 h 12"/>
                <a:gd name="T6" fmla="*/ 6 w 20"/>
                <a:gd name="T7" fmla="*/ 0 h 12"/>
                <a:gd name="T8" fmla="*/ 14 w 20"/>
                <a:gd name="T9" fmla="*/ 0 h 12"/>
                <a:gd name="T10" fmla="*/ 20 w 20"/>
                <a:gd name="T11" fmla="*/ 6 h 12"/>
                <a:gd name="T12" fmla="*/ 14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3"/>
                    <a:pt x="20" y="6"/>
                  </a:cubicBezTo>
                  <a:cubicBezTo>
                    <a:pt x="20" y="10"/>
                    <a:pt x="17" y="12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83" name="Group 1394"/>
          <p:cNvGrpSpPr/>
          <p:nvPr/>
        </p:nvGrpSpPr>
        <p:grpSpPr>
          <a:xfrm>
            <a:off x="11057591" y="1878692"/>
            <a:ext cx="769016" cy="466118"/>
            <a:chOff x="4049713" y="17521238"/>
            <a:chExt cx="777875" cy="471488"/>
          </a:xfrm>
          <a:solidFill>
            <a:schemeClr val="bg1"/>
          </a:solidFill>
        </p:grpSpPr>
        <p:sp>
          <p:nvSpPr>
            <p:cNvPr id="384" name="Freeform 76"/>
            <p:cNvSpPr>
              <a:spLocks/>
            </p:cNvSpPr>
            <p:nvPr/>
          </p:nvSpPr>
          <p:spPr bwMode="auto">
            <a:xfrm>
              <a:off x="4157663" y="17829213"/>
              <a:ext cx="180975" cy="146050"/>
            </a:xfrm>
            <a:custGeom>
              <a:avLst/>
              <a:gdLst>
                <a:gd name="T0" fmla="*/ 56 w 62"/>
                <a:gd name="T1" fmla="*/ 50 h 50"/>
                <a:gd name="T2" fmla="*/ 50 w 62"/>
                <a:gd name="T3" fmla="*/ 44 h 50"/>
                <a:gd name="T4" fmla="*/ 50 w 62"/>
                <a:gd name="T5" fmla="*/ 13 h 50"/>
                <a:gd name="T6" fmla="*/ 47 w 62"/>
                <a:gd name="T7" fmla="*/ 12 h 50"/>
                <a:gd name="T8" fmla="*/ 16 w 62"/>
                <a:gd name="T9" fmla="*/ 12 h 50"/>
                <a:gd name="T10" fmla="*/ 12 w 62"/>
                <a:gd name="T11" fmla="*/ 13 h 50"/>
                <a:gd name="T12" fmla="*/ 12 w 62"/>
                <a:gd name="T13" fmla="*/ 44 h 50"/>
                <a:gd name="T14" fmla="*/ 6 w 62"/>
                <a:gd name="T15" fmla="*/ 50 h 50"/>
                <a:gd name="T16" fmla="*/ 0 w 62"/>
                <a:gd name="T17" fmla="*/ 44 h 50"/>
                <a:gd name="T18" fmla="*/ 0 w 62"/>
                <a:gd name="T19" fmla="*/ 13 h 50"/>
                <a:gd name="T20" fmla="*/ 16 w 62"/>
                <a:gd name="T21" fmla="*/ 0 h 50"/>
                <a:gd name="T22" fmla="*/ 47 w 62"/>
                <a:gd name="T23" fmla="*/ 0 h 50"/>
                <a:gd name="T24" fmla="*/ 62 w 62"/>
                <a:gd name="T25" fmla="*/ 13 h 50"/>
                <a:gd name="T26" fmla="*/ 62 w 62"/>
                <a:gd name="T27" fmla="*/ 44 h 50"/>
                <a:gd name="T28" fmla="*/ 56 w 62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50">
                  <a:moveTo>
                    <a:pt x="56" y="50"/>
                  </a:moveTo>
                  <a:cubicBezTo>
                    <a:pt x="53" y="50"/>
                    <a:pt x="50" y="47"/>
                    <a:pt x="50" y="44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0" y="13"/>
                    <a:pt x="49" y="12"/>
                    <a:pt x="4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2" y="1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7"/>
                    <a:pt x="60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5" name="Freeform 77"/>
            <p:cNvSpPr>
              <a:spLocks/>
            </p:cNvSpPr>
            <p:nvPr/>
          </p:nvSpPr>
          <p:spPr bwMode="auto">
            <a:xfrm>
              <a:off x="4056063" y="17956213"/>
              <a:ext cx="771525" cy="36513"/>
            </a:xfrm>
            <a:custGeom>
              <a:avLst/>
              <a:gdLst>
                <a:gd name="T0" fmla="*/ 258 w 264"/>
                <a:gd name="T1" fmla="*/ 12 h 12"/>
                <a:gd name="T2" fmla="*/ 6 w 264"/>
                <a:gd name="T3" fmla="*/ 12 h 12"/>
                <a:gd name="T4" fmla="*/ 0 w 264"/>
                <a:gd name="T5" fmla="*/ 6 h 12"/>
                <a:gd name="T6" fmla="*/ 6 w 264"/>
                <a:gd name="T7" fmla="*/ 0 h 12"/>
                <a:gd name="T8" fmla="*/ 258 w 264"/>
                <a:gd name="T9" fmla="*/ 0 h 12"/>
                <a:gd name="T10" fmla="*/ 264 w 264"/>
                <a:gd name="T11" fmla="*/ 6 h 12"/>
                <a:gd name="T12" fmla="*/ 258 w 2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2">
                  <a:moveTo>
                    <a:pt x="2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4" y="2"/>
                    <a:pt x="264" y="6"/>
                  </a:cubicBezTo>
                  <a:cubicBezTo>
                    <a:pt x="264" y="9"/>
                    <a:pt x="261" y="12"/>
                    <a:pt x="2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6" name="Freeform 78"/>
            <p:cNvSpPr>
              <a:spLocks/>
            </p:cNvSpPr>
            <p:nvPr/>
          </p:nvSpPr>
          <p:spPr bwMode="auto">
            <a:xfrm>
              <a:off x="4318001" y="17618075"/>
              <a:ext cx="479425" cy="34925"/>
            </a:xfrm>
            <a:custGeom>
              <a:avLst/>
              <a:gdLst>
                <a:gd name="T0" fmla="*/ 158 w 164"/>
                <a:gd name="T1" fmla="*/ 12 h 12"/>
                <a:gd name="T2" fmla="*/ 6 w 164"/>
                <a:gd name="T3" fmla="*/ 12 h 12"/>
                <a:gd name="T4" fmla="*/ 0 w 164"/>
                <a:gd name="T5" fmla="*/ 6 h 12"/>
                <a:gd name="T6" fmla="*/ 6 w 164"/>
                <a:gd name="T7" fmla="*/ 0 h 12"/>
                <a:gd name="T8" fmla="*/ 158 w 164"/>
                <a:gd name="T9" fmla="*/ 0 h 12"/>
                <a:gd name="T10" fmla="*/ 164 w 164"/>
                <a:gd name="T11" fmla="*/ 6 h 12"/>
                <a:gd name="T12" fmla="*/ 158 w 1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2">
                  <a:moveTo>
                    <a:pt x="1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1" y="0"/>
                    <a:pt x="164" y="3"/>
                    <a:pt x="164" y="6"/>
                  </a:cubicBezTo>
                  <a:cubicBezTo>
                    <a:pt x="164" y="10"/>
                    <a:pt x="161" y="12"/>
                    <a:pt x="1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7" name="Freeform 79"/>
            <p:cNvSpPr>
              <a:spLocks/>
            </p:cNvSpPr>
            <p:nvPr/>
          </p:nvSpPr>
          <p:spPr bwMode="auto">
            <a:xfrm>
              <a:off x="4371976" y="17573625"/>
              <a:ext cx="373063" cy="34925"/>
            </a:xfrm>
            <a:custGeom>
              <a:avLst/>
              <a:gdLst>
                <a:gd name="T0" fmla="*/ 122 w 128"/>
                <a:gd name="T1" fmla="*/ 12 h 12"/>
                <a:gd name="T2" fmla="*/ 6 w 128"/>
                <a:gd name="T3" fmla="*/ 12 h 12"/>
                <a:gd name="T4" fmla="*/ 0 w 128"/>
                <a:gd name="T5" fmla="*/ 6 h 12"/>
                <a:gd name="T6" fmla="*/ 6 w 128"/>
                <a:gd name="T7" fmla="*/ 0 h 12"/>
                <a:gd name="T8" fmla="*/ 122 w 128"/>
                <a:gd name="T9" fmla="*/ 0 h 12"/>
                <a:gd name="T10" fmla="*/ 128 w 128"/>
                <a:gd name="T11" fmla="*/ 6 h 12"/>
                <a:gd name="T12" fmla="*/ 122 w 12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2">
                  <a:moveTo>
                    <a:pt x="12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5" y="0"/>
                    <a:pt x="128" y="3"/>
                    <a:pt x="128" y="6"/>
                  </a:cubicBezTo>
                  <a:cubicBezTo>
                    <a:pt x="128" y="10"/>
                    <a:pt x="125" y="12"/>
                    <a:pt x="1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8" name="Freeform 80"/>
            <p:cNvSpPr>
              <a:spLocks/>
            </p:cNvSpPr>
            <p:nvPr/>
          </p:nvSpPr>
          <p:spPr bwMode="auto">
            <a:xfrm>
              <a:off x="4411663" y="17735550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3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9" name="Freeform 81"/>
            <p:cNvSpPr>
              <a:spLocks/>
            </p:cNvSpPr>
            <p:nvPr/>
          </p:nvSpPr>
          <p:spPr bwMode="auto">
            <a:xfrm>
              <a:off x="4411663" y="17808575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2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0" name="Freeform 82"/>
            <p:cNvSpPr>
              <a:spLocks/>
            </p:cNvSpPr>
            <p:nvPr/>
          </p:nvSpPr>
          <p:spPr bwMode="auto">
            <a:xfrm>
              <a:off x="4567238" y="17735550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1" name="Freeform 83"/>
            <p:cNvSpPr>
              <a:spLocks/>
            </p:cNvSpPr>
            <p:nvPr/>
          </p:nvSpPr>
          <p:spPr bwMode="auto">
            <a:xfrm>
              <a:off x="4567238" y="17808575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2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2" name="Freeform 84"/>
            <p:cNvSpPr>
              <a:spLocks/>
            </p:cNvSpPr>
            <p:nvPr/>
          </p:nvSpPr>
          <p:spPr bwMode="auto">
            <a:xfrm>
              <a:off x="4368801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3" name="Freeform 85"/>
            <p:cNvSpPr>
              <a:spLocks/>
            </p:cNvSpPr>
            <p:nvPr/>
          </p:nvSpPr>
          <p:spPr bwMode="auto">
            <a:xfrm>
              <a:off x="4519613" y="17667288"/>
              <a:ext cx="36513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4" name="Freeform 86"/>
            <p:cNvSpPr>
              <a:spLocks/>
            </p:cNvSpPr>
            <p:nvPr/>
          </p:nvSpPr>
          <p:spPr bwMode="auto">
            <a:xfrm>
              <a:off x="4710113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2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Freeform 87"/>
            <p:cNvSpPr>
              <a:spLocks/>
            </p:cNvSpPr>
            <p:nvPr/>
          </p:nvSpPr>
          <p:spPr bwMode="auto">
            <a:xfrm>
              <a:off x="4049713" y="17673638"/>
              <a:ext cx="357188" cy="122238"/>
            </a:xfrm>
            <a:custGeom>
              <a:avLst/>
              <a:gdLst>
                <a:gd name="T0" fmla="*/ 6 w 122"/>
                <a:gd name="T1" fmla="*/ 42 h 42"/>
                <a:gd name="T2" fmla="*/ 0 w 122"/>
                <a:gd name="T3" fmla="*/ 38 h 42"/>
                <a:gd name="T4" fmla="*/ 5 w 122"/>
                <a:gd name="T5" fmla="*/ 30 h 42"/>
                <a:gd name="T6" fmla="*/ 114 w 122"/>
                <a:gd name="T7" fmla="*/ 1 h 42"/>
                <a:gd name="T8" fmla="*/ 121 w 122"/>
                <a:gd name="T9" fmla="*/ 6 h 42"/>
                <a:gd name="T10" fmla="*/ 117 w 122"/>
                <a:gd name="T11" fmla="*/ 13 h 42"/>
                <a:gd name="T12" fmla="*/ 8 w 122"/>
                <a:gd name="T13" fmla="*/ 42 h 42"/>
                <a:gd name="T14" fmla="*/ 6 w 12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42">
                  <a:moveTo>
                    <a:pt x="6" y="42"/>
                  </a:moveTo>
                  <a:cubicBezTo>
                    <a:pt x="4" y="42"/>
                    <a:pt x="1" y="40"/>
                    <a:pt x="0" y="38"/>
                  </a:cubicBezTo>
                  <a:cubicBezTo>
                    <a:pt x="0" y="35"/>
                    <a:pt x="2" y="31"/>
                    <a:pt x="5" y="3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0"/>
                    <a:pt x="120" y="2"/>
                    <a:pt x="121" y="6"/>
                  </a:cubicBezTo>
                  <a:cubicBezTo>
                    <a:pt x="122" y="9"/>
                    <a:pt x="120" y="12"/>
                    <a:pt x="117" y="1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6" name="Freeform 88"/>
            <p:cNvSpPr>
              <a:spLocks/>
            </p:cNvSpPr>
            <p:nvPr/>
          </p:nvSpPr>
          <p:spPr bwMode="auto">
            <a:xfrm>
              <a:off x="4657726" y="1752123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7" name="Freeform 89"/>
            <p:cNvSpPr>
              <a:spLocks/>
            </p:cNvSpPr>
            <p:nvPr/>
          </p:nvSpPr>
          <p:spPr bwMode="auto">
            <a:xfrm>
              <a:off x="4094163" y="17760950"/>
              <a:ext cx="34925" cy="177800"/>
            </a:xfrm>
            <a:custGeom>
              <a:avLst/>
              <a:gdLst>
                <a:gd name="T0" fmla="*/ 6 w 12"/>
                <a:gd name="T1" fmla="*/ 61 h 61"/>
                <a:gd name="T2" fmla="*/ 0 w 12"/>
                <a:gd name="T3" fmla="*/ 55 h 61"/>
                <a:gd name="T4" fmla="*/ 0 w 12"/>
                <a:gd name="T5" fmla="*/ 6 h 61"/>
                <a:gd name="T6" fmla="*/ 6 w 12"/>
                <a:gd name="T7" fmla="*/ 0 h 61"/>
                <a:gd name="T8" fmla="*/ 12 w 12"/>
                <a:gd name="T9" fmla="*/ 6 h 61"/>
                <a:gd name="T10" fmla="*/ 12 w 12"/>
                <a:gd name="T11" fmla="*/ 55 h 61"/>
                <a:gd name="T12" fmla="*/ 6 w 1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1">
                  <a:moveTo>
                    <a:pt x="6" y="61"/>
                  </a:moveTo>
                  <a:cubicBezTo>
                    <a:pt x="2" y="61"/>
                    <a:pt x="0" y="58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8"/>
                    <a:pt x="9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7245391" y="4453067"/>
            <a:ext cx="4613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 рамок программ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6687508" y="4528828"/>
            <a:ext cx="470304" cy="478423"/>
            <a:chOff x="404715" y="5919253"/>
            <a:chExt cx="497659" cy="506250"/>
          </a:xfrm>
        </p:grpSpPr>
        <p:sp>
          <p:nvSpPr>
            <p:cNvPr id="64" name="Равнобедренный треугольник 63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4715" y="5936986"/>
              <a:ext cx="497657" cy="48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6580231" y="5030003"/>
            <a:ext cx="5674471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6708886" y="5172953"/>
            <a:ext cx="5545816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 финансируется имущество, бывшее в употреблении</a:t>
            </a:r>
          </a:p>
          <a:p>
            <a:pPr marL="171450" lvl="0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Не финансируются лизингополучатели, чья деятельность связана с: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Производство и (или) реализация подакцизных товаров (ст. 181 НК РФ)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Добыча (или) реализация полезных ископаемых </a:t>
            </a:r>
            <a:br>
              <a:rPr lang="ru-RU" sz="1400" dirty="0">
                <a:solidFill>
                  <a:srgbClr val="000000"/>
                </a:solidFill>
              </a:rPr>
            </a:br>
            <a:r>
              <a:rPr lang="ru-RU" sz="1400" dirty="0">
                <a:solidFill>
                  <a:srgbClr val="000000"/>
                </a:solidFill>
              </a:rPr>
              <a:t>(ст. 337 НК РФ), за исключением общераспространенных</a:t>
            </a:r>
          </a:p>
        </p:txBody>
      </p:sp>
    </p:spTree>
    <p:extLst>
      <p:ext uri="{BB962C8B-B14F-4D97-AF65-F5344CB8AC3E}">
        <p14:creationId xmlns:p14="http://schemas.microsoft.com/office/powerpoint/2010/main" xmlns="" val="2029917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/>
              <a:t>Порядок взаимодействия участников лизинговой сделки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79727833"/>
              </p:ext>
            </p:extLst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РЛК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** Форма Анкеты-заявки представлена на стр. 5</a:t>
            </a:r>
            <a:endParaRPr lang="en-US" sz="105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ставка 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79840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едварительная анкета – заявка для участия в программе коммерческого лизинг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xmlns="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xmlns="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xmlns="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.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49946368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 Light" panose="020F0302020204030204" pitchFamily="34" charset="0"/>
              </a:rPr>
              <a:t>Заполненную анкету необходимо направить по адресу: </a:t>
            </a:r>
            <a:r>
              <a:rPr lang="en-US" sz="2400" b="1" u="sng" dirty="0">
                <a:latin typeface="Calibri Light" panose="020F0302020204030204" pitchFamily="34" charset="0"/>
              </a:rPr>
              <a:t>sales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@</a:t>
            </a:r>
            <a:r>
              <a:rPr lang="en-US" sz="2400" b="1" u="sng" dirty="0" err="1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rlcrt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.ru</a:t>
            </a:r>
            <a:r>
              <a:rPr lang="ru-RU" sz="2400" b="1" u="sng" dirty="0">
                <a:latin typeface="Calibri Light" panose="020F0302020204030204" pitchFamily="34" charset="0"/>
              </a:rPr>
              <a:t> </a:t>
            </a:r>
            <a:r>
              <a:rPr lang="ru-RU" u="sng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54648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Контактная информац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яя лизинговая компания 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4125833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4202637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Баздрева </a:t>
            </a:r>
            <a:r>
              <a:rPr lang="en-US" sz="1600" b="1" dirty="0">
                <a:solidFill>
                  <a:srgbClr val="1F4E79"/>
                </a:solidFill>
              </a:rPr>
              <a:t/>
            </a:r>
            <a:br>
              <a:rPr lang="en-US" sz="1600" b="1" dirty="0">
                <a:solidFill>
                  <a:srgbClr val="1F4E79"/>
                </a:solidFill>
              </a:rPr>
            </a:br>
            <a:r>
              <a:rPr lang="ru-RU" sz="1600" b="1" dirty="0">
                <a:solidFill>
                  <a:srgbClr val="1F4E79"/>
                </a:solidFill>
              </a:rPr>
              <a:t>Алена Александро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188186" y="363118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2"/>
              </a:rPr>
              <a:t>Abazdreva@rlcrt.ru</a:t>
            </a:r>
            <a:endParaRPr lang="en-US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</a:t>
            </a:r>
            <a:r>
              <a:rPr lang="ru-RU" sz="1400" dirty="0">
                <a:solidFill>
                  <a:srgbClr val="000000"/>
                </a:solidFill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4188185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Заместитель г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енеральног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директора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sp>
        <p:nvSpPr>
          <p:cNvPr id="161" name="Прямоугольник 160"/>
          <p:cNvSpPr/>
          <p:nvPr/>
        </p:nvSpPr>
        <p:spPr>
          <a:xfrm>
            <a:off x="8040302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8117106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Тимофеев Александр Владимир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8102655" y="3631184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timofeev@rlcrt.ru</a:t>
            </a:r>
            <a:endParaRPr lang="ru-RU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lang="ru-RU" sz="1400" dirty="0">
                <a:solidFill>
                  <a:srgbClr val="000000"/>
                </a:solidFill>
              </a:rPr>
              <a:t>8 (843) 524-72-32 (доб.301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8102654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Директор департамента продаж </a:t>
            </a: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АО «РЛК Республики 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4125833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4202637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сквин Анатолий Валерьевич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4188186" y="6639862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u="sng" dirty="0">
                <a:solidFill>
                  <a:srgbClr val="0070C0"/>
                </a:solidFill>
              </a:rPr>
              <a:t>amoskvin@rlcrt.ru</a:t>
            </a: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lang="ru-RU" sz="1400" dirty="0">
                <a:solidFill>
                  <a:srgbClr val="000000"/>
                </a:solidFill>
              </a:rPr>
              <a:t>843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lang="ru-RU" sz="1400" dirty="0">
                <a:solidFill>
                  <a:srgbClr val="000000"/>
                </a:solidFill>
              </a:rPr>
              <a:t>524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</a:rPr>
              <a:t>7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2 (доб.304)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4188185" y="5731051"/>
            <a:ext cx="31416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лиентский менеджер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партамента продаж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</a:t>
            </a:r>
            <a:r>
              <a:rPr lang="ru-RU" sz="1200" dirty="0">
                <a:solidFill>
                  <a:srgbClr val="000000"/>
                </a:solidFill>
              </a:rPr>
              <a:t> Республики Татарста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»</a:t>
            </a:r>
          </a:p>
        </p:txBody>
      </p:sp>
      <p:grpSp>
        <p:nvGrpSpPr>
          <p:cNvPr id="186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87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8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9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0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1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2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3" name="TextBox 192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02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0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09" name="TextBox 208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25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2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1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6" name="TextBox 235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4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5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6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57" name="TextBox 256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</a:p>
        </p:txBody>
      </p:sp>
      <p:grpSp>
        <p:nvGrpSpPr>
          <p:cNvPr id="264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65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6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7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8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9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70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71" name="TextBox 270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4262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660</TotalTime>
  <Words>736</Words>
  <Application>Microsoft Office PowerPoint</Application>
  <PresentationFormat>Произвольный</PresentationFormat>
  <Paragraphs>167</Paragraphs>
  <Slides>6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7" baseType="lpstr">
      <vt:lpstr>Title</vt:lpstr>
      <vt:lpstr>Программа коммерческого лизинга  дочерних региональных лизинговых компаний АО «Корпорация «МСП»</vt:lpstr>
      <vt:lpstr>Программа коммерческого лизинга для субъектов МСП</vt:lpstr>
      <vt:lpstr>Лизинговые продукты коммерческого портфеля дочерних региональных лизинговых компаний АО «Корпорация «МСП»</vt:lpstr>
      <vt:lpstr>Порядок взаимодействия участников лизинговой сделки</vt:lpstr>
      <vt:lpstr>Предварительная анкета – заявка для участия в программе коммерческого лизинга</vt:lpstr>
      <vt:lpstr>Контактная информация</vt:lpstr>
    </vt:vector>
  </TitlesOfParts>
  <Company>Deloitte &amp; Touch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Economist-Lar</cp:lastModifiedBy>
  <cp:revision>4946</cp:revision>
  <cp:lastPrinted>2019-04-23T11:09:04Z</cp:lastPrinted>
  <dcterms:created xsi:type="dcterms:W3CDTF">2010-08-23T12:41:44Z</dcterms:created>
  <dcterms:modified xsi:type="dcterms:W3CDTF">2019-08-29T09:30:06Z</dcterms:modified>
</cp:coreProperties>
</file>